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wmf" ContentType="image/x-w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3"/>
  </p:notesMasterIdLst>
  <p:sldIdLst>
    <p:sldId id="256" r:id="rId3"/>
    <p:sldId id="273" r:id="rId4"/>
    <p:sldId id="258" r:id="rId5"/>
    <p:sldId id="1718" r:id="rId6"/>
    <p:sldId id="1717" r:id="rId7"/>
    <p:sldId id="1712" r:id="rId8"/>
    <p:sldId id="1716" r:id="rId9"/>
    <p:sldId id="1761" r:id="rId10"/>
    <p:sldId id="1763" r:id="rId11"/>
    <p:sldId id="270" r:id="rId12"/>
    <p:sldId id="1722" r:id="rId13"/>
    <p:sldId id="1764" r:id="rId14"/>
    <p:sldId id="1727" r:id="rId15"/>
    <p:sldId id="1725" r:id="rId16"/>
    <p:sldId id="1719" r:id="rId17"/>
    <p:sldId id="1720" r:id="rId18"/>
    <p:sldId id="1734" r:id="rId19"/>
    <p:sldId id="1735" r:id="rId20"/>
    <p:sldId id="1733" r:id="rId21"/>
    <p:sldId id="261" r:id="rId2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67E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33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1205" y="70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6" Type="http://schemas.openxmlformats.org/officeDocument/2006/relationships/tableStyles" Target="tableStyles.xml"/><Relationship Id="rId25" Type="http://schemas.openxmlformats.org/officeDocument/2006/relationships/viewProps" Target="viewProps.xml"/><Relationship Id="rId24" Type="http://schemas.openxmlformats.org/officeDocument/2006/relationships/presProps" Target="presProps.xml"/><Relationship Id="rId23" Type="http://schemas.openxmlformats.org/officeDocument/2006/relationships/notesMaster" Target="notesMasters/notesMaster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任意多边形: 形状 3"/>
          <p:cNvSpPr/>
          <p:nvPr/>
        </p:nvSpPr>
        <p:spPr>
          <a:xfrm>
            <a:off x="-3175" y="-3175"/>
            <a:ext cx="12198350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dirty="0"/>
          </a:p>
        </p:txBody>
      </p:sp>
      <p:grpSp>
        <p:nvGrpSpPr>
          <p:cNvPr id="9930" name="组合 9929"/>
          <p:cNvGrpSpPr/>
          <p:nvPr userDrawn="1"/>
        </p:nvGrpSpPr>
        <p:grpSpPr>
          <a:xfrm>
            <a:off x="6613843" y="770051"/>
            <a:ext cx="5506402" cy="5861572"/>
            <a:chOff x="6613843" y="770051"/>
            <a:chExt cx="5506402" cy="5861572"/>
          </a:xfrm>
        </p:grpSpPr>
        <p:sp>
          <p:nvSpPr>
            <p:cNvPr id="5" name="任意多边形: 形状 4"/>
            <p:cNvSpPr/>
            <p:nvPr/>
          </p:nvSpPr>
          <p:spPr>
            <a:xfrm>
              <a:off x="7478395" y="3435350"/>
              <a:ext cx="4641850" cy="2546350"/>
            </a:xfrm>
            <a:custGeom>
              <a:avLst/>
              <a:gdLst>
                <a:gd name="connsiteX0" fmla="*/ 3175 w 4641850"/>
                <a:gd name="connsiteY0" fmla="*/ 1431925 h 2546350"/>
                <a:gd name="connsiteX1" fmla="*/ 1784350 w 4641850"/>
                <a:gd name="connsiteY1" fmla="*/ 2546350 h 2546350"/>
                <a:gd name="connsiteX2" fmla="*/ 4639946 w 4641850"/>
                <a:gd name="connsiteY2" fmla="*/ 868680 h 2546350"/>
                <a:gd name="connsiteX3" fmla="*/ 3265805 w 4641850"/>
                <a:gd name="connsiteY3" fmla="*/ 3175 h 254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1850" h="2546350">
                  <a:moveTo>
                    <a:pt x="3175" y="1431925"/>
                  </a:moveTo>
                  <a:lnTo>
                    <a:pt x="1784350" y="2546350"/>
                  </a:lnTo>
                  <a:lnTo>
                    <a:pt x="4639946" y="868680"/>
                  </a:lnTo>
                  <a:lnTo>
                    <a:pt x="3265805" y="3175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/>
            <p:cNvSpPr/>
            <p:nvPr/>
          </p:nvSpPr>
          <p:spPr>
            <a:xfrm>
              <a:off x="7546975" y="4079240"/>
              <a:ext cx="2882900" cy="1695450"/>
            </a:xfrm>
            <a:custGeom>
              <a:avLst/>
              <a:gdLst>
                <a:gd name="connsiteX0" fmla="*/ 2881630 w 2882900"/>
                <a:gd name="connsiteY0" fmla="*/ 979805 h 1695450"/>
                <a:gd name="connsiteX1" fmla="*/ 1715770 w 2882900"/>
                <a:gd name="connsiteY1" fmla="*/ 1696085 h 1695450"/>
                <a:gd name="connsiteX2" fmla="*/ 3175 w 2882900"/>
                <a:gd name="connsiteY2" fmla="*/ 627380 h 1695450"/>
                <a:gd name="connsiteX3" fmla="*/ 1329690 w 2882900"/>
                <a:gd name="connsiteY3" fmla="*/ 3175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2900" h="1695450">
                  <a:moveTo>
                    <a:pt x="2881630" y="979805"/>
                  </a:moveTo>
                  <a:lnTo>
                    <a:pt x="1715770" y="1696085"/>
                  </a:lnTo>
                  <a:lnTo>
                    <a:pt x="3175" y="627380"/>
                  </a:lnTo>
                  <a:lnTo>
                    <a:pt x="1329690" y="3175"/>
                  </a:lnTo>
                  <a:close/>
                </a:path>
              </a:pathLst>
            </a:custGeom>
            <a:solidFill>
              <a:srgbClr val="E4F0F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/>
            <p:cNvSpPr/>
            <p:nvPr/>
          </p:nvSpPr>
          <p:spPr>
            <a:xfrm>
              <a:off x="7938770" y="2006600"/>
              <a:ext cx="971550" cy="768350"/>
            </a:xfrm>
            <a:custGeom>
              <a:avLst/>
              <a:gdLst>
                <a:gd name="connsiteX0" fmla="*/ 3175 w 971550"/>
                <a:gd name="connsiteY0" fmla="*/ 768985 h 768350"/>
                <a:gd name="connsiteX1" fmla="*/ 3175 w 971550"/>
                <a:gd name="connsiteY1" fmla="*/ 563880 h 768350"/>
                <a:gd name="connsiteX2" fmla="*/ 972186 w 971550"/>
                <a:gd name="connsiteY2" fmla="*/ 3175 h 768350"/>
                <a:gd name="connsiteX3" fmla="*/ 972186 w 971550"/>
                <a:gd name="connsiteY3" fmla="*/ 206375 h 768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0" h="768350">
                  <a:moveTo>
                    <a:pt x="3175" y="768985"/>
                  </a:moveTo>
                  <a:lnTo>
                    <a:pt x="3175" y="563880"/>
                  </a:lnTo>
                  <a:lnTo>
                    <a:pt x="972186" y="3175"/>
                  </a:lnTo>
                  <a:lnTo>
                    <a:pt x="972186" y="20637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/>
            <p:cNvSpPr/>
            <p:nvPr/>
          </p:nvSpPr>
          <p:spPr>
            <a:xfrm>
              <a:off x="7705090" y="3724910"/>
              <a:ext cx="19050" cy="88900"/>
            </a:xfrm>
            <a:custGeom>
              <a:avLst/>
              <a:gdLst>
                <a:gd name="connsiteX0" fmla="*/ 3175 w 19050"/>
                <a:gd name="connsiteY0" fmla="*/ 90170 h 88900"/>
                <a:gd name="connsiteX1" fmla="*/ 3175 w 19050"/>
                <a:gd name="connsiteY1" fmla="*/ 90170 h 88900"/>
                <a:gd name="connsiteX2" fmla="*/ 16510 w 19050"/>
                <a:gd name="connsiteY2" fmla="*/ 3175 h 88900"/>
                <a:gd name="connsiteX3" fmla="*/ 16510 w 19050"/>
                <a:gd name="connsiteY3" fmla="*/ 3175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88900">
                  <a:moveTo>
                    <a:pt x="3175" y="90170"/>
                  </a:moveTo>
                  <a:lnTo>
                    <a:pt x="3175" y="90170"/>
                  </a:lnTo>
                  <a:lnTo>
                    <a:pt x="16510" y="3175"/>
                  </a:lnTo>
                  <a:lnTo>
                    <a:pt x="16510" y="3175"/>
                  </a:lnTo>
                  <a:close/>
                </a:path>
              </a:pathLst>
            </a:custGeom>
            <a:noFill/>
            <a:ln w="6350" cap="flat">
              <a:solidFill>
                <a:srgbClr val="5A69E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/>
            <p:cNvSpPr/>
            <p:nvPr/>
          </p:nvSpPr>
          <p:spPr>
            <a:xfrm>
              <a:off x="7713663" y="3799798"/>
              <a:ext cx="25400" cy="38100"/>
            </a:xfrm>
            <a:custGeom>
              <a:avLst/>
              <a:gdLst>
                <a:gd name="connsiteX0" fmla="*/ 15557 w 25400"/>
                <a:gd name="connsiteY0" fmla="*/ 6393 h 38100"/>
                <a:gd name="connsiteX1" fmla="*/ 4763 w 25400"/>
                <a:gd name="connsiteY1" fmla="*/ 25443 h 38100"/>
                <a:gd name="connsiteX2" fmla="*/ 15557 w 25400"/>
                <a:gd name="connsiteY2" fmla="*/ 31793 h 38100"/>
                <a:gd name="connsiteX3" fmla="*/ 26353 w 25400"/>
                <a:gd name="connsiteY3" fmla="*/ 12743 h 38100"/>
                <a:gd name="connsiteX4" fmla="*/ 15557 w 25400"/>
                <a:gd name="connsiteY4" fmla="*/ 639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38100">
                  <a:moveTo>
                    <a:pt x="15557" y="6393"/>
                  </a:moveTo>
                  <a:cubicBezTo>
                    <a:pt x="9207" y="10202"/>
                    <a:pt x="4763" y="18457"/>
                    <a:pt x="4763" y="25443"/>
                  </a:cubicBezTo>
                  <a:cubicBezTo>
                    <a:pt x="4763" y="32427"/>
                    <a:pt x="9843" y="35602"/>
                    <a:pt x="15557" y="31793"/>
                  </a:cubicBezTo>
                  <a:cubicBezTo>
                    <a:pt x="21907" y="27982"/>
                    <a:pt x="26353" y="19727"/>
                    <a:pt x="26353" y="12743"/>
                  </a:cubicBezTo>
                  <a:cubicBezTo>
                    <a:pt x="26353" y="5757"/>
                    <a:pt x="21272" y="2582"/>
                    <a:pt x="15557" y="6393"/>
                  </a:cubicBezTo>
                  <a:close/>
                </a:path>
              </a:pathLst>
            </a:custGeom>
            <a:solidFill>
              <a:srgbClr val="13304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/>
            <p:cNvSpPr/>
            <p:nvPr/>
          </p:nvSpPr>
          <p:spPr>
            <a:xfrm>
              <a:off x="7713663" y="3799798"/>
              <a:ext cx="25400" cy="38100"/>
            </a:xfrm>
            <a:custGeom>
              <a:avLst/>
              <a:gdLst>
                <a:gd name="connsiteX0" fmla="*/ 15557 w 25400"/>
                <a:gd name="connsiteY0" fmla="*/ 6393 h 38100"/>
                <a:gd name="connsiteX1" fmla="*/ 4763 w 25400"/>
                <a:gd name="connsiteY1" fmla="*/ 25443 h 38100"/>
                <a:gd name="connsiteX2" fmla="*/ 15557 w 25400"/>
                <a:gd name="connsiteY2" fmla="*/ 31793 h 38100"/>
                <a:gd name="connsiteX3" fmla="*/ 26353 w 25400"/>
                <a:gd name="connsiteY3" fmla="*/ 12743 h 38100"/>
                <a:gd name="connsiteX4" fmla="*/ 15557 w 25400"/>
                <a:gd name="connsiteY4" fmla="*/ 639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38100">
                  <a:moveTo>
                    <a:pt x="15557" y="6393"/>
                  </a:moveTo>
                  <a:cubicBezTo>
                    <a:pt x="9207" y="10202"/>
                    <a:pt x="4763" y="18457"/>
                    <a:pt x="4763" y="25443"/>
                  </a:cubicBezTo>
                  <a:cubicBezTo>
                    <a:pt x="4763" y="32427"/>
                    <a:pt x="9843" y="35602"/>
                    <a:pt x="15557" y="31793"/>
                  </a:cubicBezTo>
                  <a:cubicBezTo>
                    <a:pt x="21907" y="27982"/>
                    <a:pt x="26353" y="19727"/>
                    <a:pt x="26353" y="12743"/>
                  </a:cubicBezTo>
                  <a:cubicBezTo>
                    <a:pt x="26353" y="5757"/>
                    <a:pt x="21272" y="2582"/>
                    <a:pt x="15557" y="6393"/>
                  </a:cubicBezTo>
                  <a:close/>
                </a:path>
              </a:pathLst>
            </a:custGeom>
            <a:noFill/>
            <a:ln w="9525" cap="flat">
              <a:solidFill>
                <a:srgbClr val="1430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/>
            <p:cNvSpPr/>
            <p:nvPr/>
          </p:nvSpPr>
          <p:spPr>
            <a:xfrm>
              <a:off x="7938770" y="2772410"/>
              <a:ext cx="1238250" cy="1327150"/>
            </a:xfrm>
            <a:custGeom>
              <a:avLst/>
              <a:gdLst>
                <a:gd name="connsiteX0" fmla="*/ 3175 w 1238250"/>
                <a:gd name="connsiteY0" fmla="*/ 3175 h 1327150"/>
                <a:gd name="connsiteX1" fmla="*/ 3175 w 1238250"/>
                <a:gd name="connsiteY1" fmla="*/ 614680 h 1327150"/>
                <a:gd name="connsiteX2" fmla="*/ 1236980 w 1238250"/>
                <a:gd name="connsiteY2" fmla="*/ 1328420 h 1327150"/>
                <a:gd name="connsiteX3" fmla="*/ 1236980 w 1238250"/>
                <a:gd name="connsiteY3" fmla="*/ 716915 h 132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1327150">
                  <a:moveTo>
                    <a:pt x="3175" y="3175"/>
                  </a:moveTo>
                  <a:lnTo>
                    <a:pt x="3175" y="614680"/>
                  </a:lnTo>
                  <a:lnTo>
                    <a:pt x="1236980" y="1328420"/>
                  </a:lnTo>
                  <a:lnTo>
                    <a:pt x="1236980" y="71691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14" name="任意多边形: 形状 13"/>
            <p:cNvSpPr/>
            <p:nvPr/>
          </p:nvSpPr>
          <p:spPr>
            <a:xfrm>
              <a:off x="9172575" y="2918460"/>
              <a:ext cx="971550" cy="1181100"/>
            </a:xfrm>
            <a:custGeom>
              <a:avLst/>
              <a:gdLst>
                <a:gd name="connsiteX0" fmla="*/ 3175 w 971550"/>
                <a:gd name="connsiteY0" fmla="*/ 566420 h 1181100"/>
                <a:gd name="connsiteX1" fmla="*/ 3175 w 971550"/>
                <a:gd name="connsiteY1" fmla="*/ 1183005 h 1181100"/>
                <a:gd name="connsiteX2" fmla="*/ 970280 w 971550"/>
                <a:gd name="connsiteY2" fmla="*/ 621030 h 1181100"/>
                <a:gd name="connsiteX3" fmla="*/ 970280 w 971550"/>
                <a:gd name="connsiteY3" fmla="*/ 3175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0" h="1181100">
                  <a:moveTo>
                    <a:pt x="3175" y="566420"/>
                  </a:moveTo>
                  <a:lnTo>
                    <a:pt x="3175" y="1183005"/>
                  </a:lnTo>
                  <a:lnTo>
                    <a:pt x="970280" y="621030"/>
                  </a:lnTo>
                  <a:lnTo>
                    <a:pt x="970280" y="317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/>
            <p:cNvSpPr/>
            <p:nvPr/>
          </p:nvSpPr>
          <p:spPr>
            <a:xfrm>
              <a:off x="7938770" y="3380740"/>
              <a:ext cx="1238250" cy="2139950"/>
            </a:xfrm>
            <a:custGeom>
              <a:avLst/>
              <a:gdLst>
                <a:gd name="connsiteX0" fmla="*/ 3175 w 1238250"/>
                <a:gd name="connsiteY0" fmla="*/ 1427480 h 2139950"/>
                <a:gd name="connsiteX1" fmla="*/ 3175 w 1238250"/>
                <a:gd name="connsiteY1" fmla="*/ 3175 h 2139950"/>
                <a:gd name="connsiteX2" fmla="*/ 1236980 w 1238250"/>
                <a:gd name="connsiteY2" fmla="*/ 715645 h 2139950"/>
                <a:gd name="connsiteX3" fmla="*/ 1236980 w 1238250"/>
                <a:gd name="connsiteY3" fmla="*/ 2139950 h 2139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2139950">
                  <a:moveTo>
                    <a:pt x="3175" y="1427480"/>
                  </a:moveTo>
                  <a:lnTo>
                    <a:pt x="3175" y="3175"/>
                  </a:lnTo>
                  <a:lnTo>
                    <a:pt x="1236980" y="715645"/>
                  </a:lnTo>
                  <a:lnTo>
                    <a:pt x="1236980" y="213995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/>
          </p:nvSpPr>
          <p:spPr>
            <a:xfrm>
              <a:off x="9172575" y="3529965"/>
              <a:ext cx="971550" cy="1993900"/>
            </a:xfrm>
            <a:custGeom>
              <a:avLst/>
              <a:gdLst>
                <a:gd name="connsiteX0" fmla="*/ 3175 w 971550"/>
                <a:gd name="connsiteY0" fmla="*/ 566420 h 1993900"/>
                <a:gd name="connsiteX1" fmla="*/ 970280 w 971550"/>
                <a:gd name="connsiteY1" fmla="*/ 3175 h 1993900"/>
                <a:gd name="connsiteX2" fmla="*/ 970280 w 971550"/>
                <a:gd name="connsiteY2" fmla="*/ 1430020 h 1993900"/>
                <a:gd name="connsiteX3" fmla="*/ 3175 w 971550"/>
                <a:gd name="connsiteY3" fmla="*/ 1990725 h 199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0" h="1993900">
                  <a:moveTo>
                    <a:pt x="3175" y="566420"/>
                  </a:moveTo>
                  <a:lnTo>
                    <a:pt x="970280" y="3175"/>
                  </a:lnTo>
                  <a:lnTo>
                    <a:pt x="970280" y="1430020"/>
                  </a:lnTo>
                  <a:lnTo>
                    <a:pt x="3175" y="1990725"/>
                  </a:lnTo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/>
            <p:cNvSpPr/>
            <p:nvPr/>
          </p:nvSpPr>
          <p:spPr>
            <a:xfrm>
              <a:off x="7938770" y="2209800"/>
              <a:ext cx="2203450" cy="1276350"/>
            </a:xfrm>
            <a:custGeom>
              <a:avLst/>
              <a:gdLst>
                <a:gd name="connsiteX0" fmla="*/ 972186 w 2203450"/>
                <a:gd name="connsiteY0" fmla="*/ 3175 h 1276350"/>
                <a:gd name="connsiteX1" fmla="*/ 3175 w 2203450"/>
                <a:gd name="connsiteY1" fmla="*/ 562610 h 1276350"/>
                <a:gd name="connsiteX2" fmla="*/ 1236980 w 2203450"/>
                <a:gd name="connsiteY2" fmla="*/ 1275080 h 1276350"/>
                <a:gd name="connsiteX3" fmla="*/ 2204086 w 2203450"/>
                <a:gd name="connsiteY3" fmla="*/ 711835 h 127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03450" h="1276350">
                  <a:moveTo>
                    <a:pt x="972186" y="3175"/>
                  </a:moveTo>
                  <a:lnTo>
                    <a:pt x="3175" y="562610"/>
                  </a:lnTo>
                  <a:lnTo>
                    <a:pt x="1236980" y="1275080"/>
                  </a:lnTo>
                  <a:lnTo>
                    <a:pt x="2204086" y="711835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/>
            <p:cNvSpPr/>
            <p:nvPr/>
          </p:nvSpPr>
          <p:spPr>
            <a:xfrm>
              <a:off x="8027035" y="3838575"/>
              <a:ext cx="1060450" cy="1428750"/>
            </a:xfrm>
            <a:custGeom>
              <a:avLst/>
              <a:gdLst>
                <a:gd name="connsiteX0" fmla="*/ 3175 w 1060450"/>
                <a:gd name="connsiteY0" fmla="*/ 817245 h 1428750"/>
                <a:gd name="connsiteX1" fmla="*/ 3175 w 1060450"/>
                <a:gd name="connsiteY1" fmla="*/ 3175 h 1428750"/>
                <a:gd name="connsiteX2" fmla="*/ 1060450 w 1060450"/>
                <a:gd name="connsiteY2" fmla="*/ 614045 h 1428750"/>
                <a:gd name="connsiteX3" fmla="*/ 1060450 w 1060450"/>
                <a:gd name="connsiteY3" fmla="*/ 142748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0450" h="1428750">
                  <a:moveTo>
                    <a:pt x="3175" y="817245"/>
                  </a:moveTo>
                  <a:lnTo>
                    <a:pt x="3175" y="3175"/>
                  </a:lnTo>
                  <a:lnTo>
                    <a:pt x="1060450" y="614045"/>
                  </a:lnTo>
                  <a:lnTo>
                    <a:pt x="1060450" y="1427480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/>
            <p:cNvSpPr/>
            <p:nvPr/>
          </p:nvSpPr>
          <p:spPr>
            <a:xfrm>
              <a:off x="9260205" y="3991610"/>
              <a:ext cx="793750" cy="1276350"/>
            </a:xfrm>
            <a:custGeom>
              <a:avLst/>
              <a:gdLst>
                <a:gd name="connsiteX0" fmla="*/ 3175 w 793750"/>
                <a:gd name="connsiteY0" fmla="*/ 461010 h 1276350"/>
                <a:gd name="connsiteX1" fmla="*/ 796289 w 793750"/>
                <a:gd name="connsiteY1" fmla="*/ 3175 h 1276350"/>
                <a:gd name="connsiteX2" fmla="*/ 796289 w 793750"/>
                <a:gd name="connsiteY2" fmla="*/ 816610 h 1276350"/>
                <a:gd name="connsiteX3" fmla="*/ 3175 w 793750"/>
                <a:gd name="connsiteY3" fmla="*/ 1274445 h 127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750" h="1276350">
                  <a:moveTo>
                    <a:pt x="3175" y="461010"/>
                  </a:moveTo>
                  <a:lnTo>
                    <a:pt x="796289" y="3175"/>
                  </a:lnTo>
                  <a:lnTo>
                    <a:pt x="796289" y="816610"/>
                  </a:lnTo>
                  <a:lnTo>
                    <a:pt x="3175" y="1274445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/>
            <p:cNvSpPr/>
            <p:nvPr/>
          </p:nvSpPr>
          <p:spPr>
            <a:xfrm>
              <a:off x="8025447" y="2916873"/>
              <a:ext cx="266700" cy="571500"/>
            </a:xfrm>
            <a:custGeom>
              <a:avLst/>
              <a:gdLst>
                <a:gd name="connsiteX0" fmla="*/ 4763 w 266700"/>
                <a:gd name="connsiteY0" fmla="*/ 4763 h 571500"/>
                <a:gd name="connsiteX1" fmla="*/ 4763 w 266700"/>
                <a:gd name="connsiteY1" fmla="*/ 416243 h 571500"/>
                <a:gd name="connsiteX2" fmla="*/ 267018 w 266700"/>
                <a:gd name="connsiteY2" fmla="*/ 568007 h 571500"/>
                <a:gd name="connsiteX3" fmla="*/ 267018 w 266700"/>
                <a:gd name="connsiteY3" fmla="*/ 160973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571500">
                  <a:moveTo>
                    <a:pt x="4763" y="4763"/>
                  </a:moveTo>
                  <a:lnTo>
                    <a:pt x="4763" y="416243"/>
                  </a:lnTo>
                  <a:lnTo>
                    <a:pt x="267018" y="568007"/>
                  </a:lnTo>
                  <a:lnTo>
                    <a:pt x="267018" y="16097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/>
            <p:cNvSpPr/>
            <p:nvPr/>
          </p:nvSpPr>
          <p:spPr>
            <a:xfrm>
              <a:off x="8379778" y="3121977"/>
              <a:ext cx="266700" cy="571500"/>
            </a:xfrm>
            <a:custGeom>
              <a:avLst/>
              <a:gdLst>
                <a:gd name="connsiteX0" fmla="*/ 4763 w 266700"/>
                <a:gd name="connsiteY0" fmla="*/ 4763 h 571500"/>
                <a:gd name="connsiteX1" fmla="*/ 4763 w 266700"/>
                <a:gd name="connsiteY1" fmla="*/ 416243 h 571500"/>
                <a:gd name="connsiteX2" fmla="*/ 267017 w 266700"/>
                <a:gd name="connsiteY2" fmla="*/ 568007 h 571500"/>
                <a:gd name="connsiteX3" fmla="*/ 267017 w 266700"/>
                <a:gd name="connsiteY3" fmla="*/ 160973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571500">
                  <a:moveTo>
                    <a:pt x="4763" y="4763"/>
                  </a:moveTo>
                  <a:lnTo>
                    <a:pt x="4763" y="416243"/>
                  </a:lnTo>
                  <a:lnTo>
                    <a:pt x="267017" y="568007"/>
                  </a:lnTo>
                  <a:lnTo>
                    <a:pt x="267017" y="16097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/>
            <p:cNvSpPr/>
            <p:nvPr/>
          </p:nvSpPr>
          <p:spPr>
            <a:xfrm>
              <a:off x="8727122" y="3325178"/>
              <a:ext cx="266700" cy="571500"/>
            </a:xfrm>
            <a:custGeom>
              <a:avLst/>
              <a:gdLst>
                <a:gd name="connsiteX0" fmla="*/ 4763 w 266700"/>
                <a:gd name="connsiteY0" fmla="*/ 4763 h 571500"/>
                <a:gd name="connsiteX1" fmla="*/ 4763 w 266700"/>
                <a:gd name="connsiteY1" fmla="*/ 416242 h 571500"/>
                <a:gd name="connsiteX2" fmla="*/ 267018 w 266700"/>
                <a:gd name="connsiteY2" fmla="*/ 568007 h 571500"/>
                <a:gd name="connsiteX3" fmla="*/ 267018 w 266700"/>
                <a:gd name="connsiteY3" fmla="*/ 160972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571500">
                  <a:moveTo>
                    <a:pt x="4763" y="4763"/>
                  </a:moveTo>
                  <a:lnTo>
                    <a:pt x="4763" y="416242"/>
                  </a:lnTo>
                  <a:lnTo>
                    <a:pt x="267018" y="568007"/>
                  </a:lnTo>
                  <a:lnTo>
                    <a:pt x="267018" y="160972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/>
            <p:cNvSpPr/>
            <p:nvPr/>
          </p:nvSpPr>
          <p:spPr>
            <a:xfrm>
              <a:off x="9258618" y="3328353"/>
              <a:ext cx="361950" cy="615950"/>
            </a:xfrm>
            <a:custGeom>
              <a:avLst/>
              <a:gdLst>
                <a:gd name="connsiteX0" fmla="*/ 4763 w 361950"/>
                <a:gd name="connsiteY0" fmla="*/ 615632 h 615950"/>
                <a:gd name="connsiteX1" fmla="*/ 4763 w 361950"/>
                <a:gd name="connsiteY1" fmla="*/ 208597 h 615950"/>
                <a:gd name="connsiteX2" fmla="*/ 357188 w 361950"/>
                <a:gd name="connsiteY2" fmla="*/ 4763 h 615950"/>
                <a:gd name="connsiteX3" fmla="*/ 357188 w 361950"/>
                <a:gd name="connsiteY3" fmla="*/ 411797 h 6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950" h="615950">
                  <a:moveTo>
                    <a:pt x="4763" y="615632"/>
                  </a:moveTo>
                  <a:lnTo>
                    <a:pt x="4763" y="208597"/>
                  </a:lnTo>
                  <a:lnTo>
                    <a:pt x="357188" y="4763"/>
                  </a:lnTo>
                  <a:lnTo>
                    <a:pt x="357188" y="411797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/>
            <p:cNvSpPr/>
            <p:nvPr/>
          </p:nvSpPr>
          <p:spPr>
            <a:xfrm>
              <a:off x="9699307" y="3074352"/>
              <a:ext cx="361950" cy="615950"/>
            </a:xfrm>
            <a:custGeom>
              <a:avLst/>
              <a:gdLst>
                <a:gd name="connsiteX0" fmla="*/ 4763 w 361950"/>
                <a:gd name="connsiteY0" fmla="*/ 614998 h 615950"/>
                <a:gd name="connsiteX1" fmla="*/ 4763 w 361950"/>
                <a:gd name="connsiteY1" fmla="*/ 207963 h 615950"/>
                <a:gd name="connsiteX2" fmla="*/ 357188 w 361950"/>
                <a:gd name="connsiteY2" fmla="*/ 4763 h 615950"/>
                <a:gd name="connsiteX3" fmla="*/ 357188 w 361950"/>
                <a:gd name="connsiteY3" fmla="*/ 411798 h 6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950" h="615950">
                  <a:moveTo>
                    <a:pt x="4763" y="614998"/>
                  </a:moveTo>
                  <a:lnTo>
                    <a:pt x="4763" y="207963"/>
                  </a:lnTo>
                  <a:lnTo>
                    <a:pt x="357188" y="4763"/>
                  </a:lnTo>
                  <a:lnTo>
                    <a:pt x="357188" y="411798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/>
            <p:cNvSpPr/>
            <p:nvPr/>
          </p:nvSpPr>
          <p:spPr>
            <a:xfrm>
              <a:off x="9258618" y="4755197"/>
              <a:ext cx="800100" cy="514350"/>
            </a:xfrm>
            <a:custGeom>
              <a:avLst/>
              <a:gdLst>
                <a:gd name="connsiteX0" fmla="*/ 4763 w 800100"/>
                <a:gd name="connsiteY0" fmla="*/ 409258 h 514350"/>
                <a:gd name="connsiteX1" fmla="*/ 709613 w 800100"/>
                <a:gd name="connsiteY1" fmla="*/ 4763 h 514350"/>
                <a:gd name="connsiteX2" fmla="*/ 797877 w 800100"/>
                <a:gd name="connsiteY2" fmla="*/ 53023 h 514350"/>
                <a:gd name="connsiteX3" fmla="*/ 4763 w 800100"/>
                <a:gd name="connsiteY3" fmla="*/ 510858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0100" h="514350">
                  <a:moveTo>
                    <a:pt x="4763" y="409258"/>
                  </a:moveTo>
                  <a:lnTo>
                    <a:pt x="709613" y="4763"/>
                  </a:lnTo>
                  <a:lnTo>
                    <a:pt x="797877" y="53023"/>
                  </a:lnTo>
                  <a:lnTo>
                    <a:pt x="4763" y="510858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/>
            <p:cNvSpPr/>
            <p:nvPr/>
          </p:nvSpPr>
          <p:spPr>
            <a:xfrm>
              <a:off x="9959657" y="3985578"/>
              <a:ext cx="101600" cy="819150"/>
            </a:xfrm>
            <a:custGeom>
              <a:avLst/>
              <a:gdLst>
                <a:gd name="connsiteX0" fmla="*/ 8573 w 101600"/>
                <a:gd name="connsiteY0" fmla="*/ 771842 h 819150"/>
                <a:gd name="connsiteX1" fmla="*/ 4763 w 101600"/>
                <a:gd name="connsiteY1" fmla="*/ 57467 h 819150"/>
                <a:gd name="connsiteX2" fmla="*/ 96838 w 101600"/>
                <a:gd name="connsiteY2" fmla="*/ 4763 h 819150"/>
                <a:gd name="connsiteX3" fmla="*/ 96838 w 101600"/>
                <a:gd name="connsiteY3" fmla="*/ 818197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600" h="819150">
                  <a:moveTo>
                    <a:pt x="8573" y="771842"/>
                  </a:moveTo>
                  <a:lnTo>
                    <a:pt x="4763" y="57467"/>
                  </a:lnTo>
                  <a:lnTo>
                    <a:pt x="96838" y="4763"/>
                  </a:lnTo>
                  <a:lnTo>
                    <a:pt x="96838" y="818197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/>
            <p:cNvSpPr/>
            <p:nvPr/>
          </p:nvSpPr>
          <p:spPr>
            <a:xfrm>
              <a:off x="8027988" y="4600258"/>
              <a:ext cx="1060450" cy="666750"/>
            </a:xfrm>
            <a:custGeom>
              <a:avLst/>
              <a:gdLst>
                <a:gd name="connsiteX0" fmla="*/ 4763 w 1060450"/>
                <a:gd name="connsiteY0" fmla="*/ 56197 h 666750"/>
                <a:gd name="connsiteX1" fmla="*/ 90488 w 1060450"/>
                <a:gd name="connsiteY1" fmla="*/ 4763 h 666750"/>
                <a:gd name="connsiteX2" fmla="*/ 1059497 w 1060450"/>
                <a:gd name="connsiteY2" fmla="*/ 564197 h 666750"/>
                <a:gd name="connsiteX3" fmla="*/ 1059497 w 1060450"/>
                <a:gd name="connsiteY3" fmla="*/ 665797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0450" h="666750">
                  <a:moveTo>
                    <a:pt x="4763" y="56197"/>
                  </a:moveTo>
                  <a:lnTo>
                    <a:pt x="90488" y="4763"/>
                  </a:lnTo>
                  <a:lnTo>
                    <a:pt x="1059497" y="564197"/>
                  </a:lnTo>
                  <a:lnTo>
                    <a:pt x="1059497" y="665797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/>
            <p:cNvSpPr/>
            <p:nvPr/>
          </p:nvSpPr>
          <p:spPr>
            <a:xfrm>
              <a:off x="8025447" y="3830638"/>
              <a:ext cx="95250" cy="825500"/>
            </a:xfrm>
            <a:custGeom>
              <a:avLst/>
              <a:gdLst>
                <a:gd name="connsiteX0" fmla="*/ 4763 w 95250"/>
                <a:gd name="connsiteY0" fmla="*/ 822008 h 825500"/>
                <a:gd name="connsiteX1" fmla="*/ 4763 w 95250"/>
                <a:gd name="connsiteY1" fmla="*/ 4763 h 825500"/>
                <a:gd name="connsiteX2" fmla="*/ 90488 w 95250"/>
                <a:gd name="connsiteY2" fmla="*/ 55563 h 825500"/>
                <a:gd name="connsiteX3" fmla="*/ 90488 w 95250"/>
                <a:gd name="connsiteY3" fmla="*/ 773113 h 82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825500">
                  <a:moveTo>
                    <a:pt x="4763" y="822008"/>
                  </a:moveTo>
                  <a:lnTo>
                    <a:pt x="4763" y="4763"/>
                  </a:lnTo>
                  <a:lnTo>
                    <a:pt x="90488" y="55563"/>
                  </a:lnTo>
                  <a:lnTo>
                    <a:pt x="90488" y="773113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/>
            <p:cNvSpPr/>
            <p:nvPr/>
          </p:nvSpPr>
          <p:spPr>
            <a:xfrm>
              <a:off x="7850505" y="4042410"/>
              <a:ext cx="971550" cy="666750"/>
            </a:xfrm>
            <a:custGeom>
              <a:avLst/>
              <a:gdLst>
                <a:gd name="connsiteX0" fmla="*/ 3175 w 971550"/>
                <a:gd name="connsiteY0" fmla="*/ 3175 h 666750"/>
                <a:gd name="connsiteX1" fmla="*/ 3175 w 971550"/>
                <a:gd name="connsiteY1" fmla="*/ 104775 h 666750"/>
                <a:gd name="connsiteX2" fmla="*/ 972820 w 971550"/>
                <a:gd name="connsiteY2" fmla="*/ 664210 h 666750"/>
                <a:gd name="connsiteX3" fmla="*/ 972820 w 971550"/>
                <a:gd name="connsiteY3" fmla="*/ 562610 h 666750"/>
                <a:gd name="connsiteX4" fmla="*/ 3175 w 971550"/>
                <a:gd name="connsiteY4" fmla="*/ 3175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1550" h="666750">
                  <a:moveTo>
                    <a:pt x="3175" y="3175"/>
                  </a:moveTo>
                  <a:lnTo>
                    <a:pt x="3175" y="104775"/>
                  </a:lnTo>
                  <a:lnTo>
                    <a:pt x="972820" y="664210"/>
                  </a:lnTo>
                  <a:lnTo>
                    <a:pt x="972820" y="562610"/>
                  </a:lnTo>
                  <a:lnTo>
                    <a:pt x="3175" y="3175"/>
                  </a:ln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/>
            <p:cNvSpPr/>
            <p:nvPr/>
          </p:nvSpPr>
          <p:spPr>
            <a:xfrm>
              <a:off x="7850505" y="3686810"/>
              <a:ext cx="1238250" cy="920750"/>
            </a:xfrm>
            <a:custGeom>
              <a:avLst/>
              <a:gdLst>
                <a:gd name="connsiteX0" fmla="*/ 267970 w 1238250"/>
                <a:gd name="connsiteY0" fmla="*/ 3175 h 920750"/>
                <a:gd name="connsiteX1" fmla="*/ 3175 w 1238250"/>
                <a:gd name="connsiteY1" fmla="*/ 358775 h 920750"/>
                <a:gd name="connsiteX2" fmla="*/ 972820 w 1238250"/>
                <a:gd name="connsiteY2" fmla="*/ 918210 h 920750"/>
                <a:gd name="connsiteX3" fmla="*/ 1236980 w 1238250"/>
                <a:gd name="connsiteY3" fmla="*/ 561975 h 9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920750">
                  <a:moveTo>
                    <a:pt x="267970" y="3175"/>
                  </a:moveTo>
                  <a:lnTo>
                    <a:pt x="3175" y="358775"/>
                  </a:lnTo>
                  <a:lnTo>
                    <a:pt x="972820" y="918210"/>
                  </a:lnTo>
                  <a:lnTo>
                    <a:pt x="1236980" y="561975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2" name="任意多边形: 形状 9791"/>
            <p:cNvSpPr/>
            <p:nvPr/>
          </p:nvSpPr>
          <p:spPr>
            <a:xfrm>
              <a:off x="8820150" y="4245610"/>
              <a:ext cx="266700" cy="463550"/>
            </a:xfrm>
            <a:custGeom>
              <a:avLst/>
              <a:gdLst>
                <a:gd name="connsiteX0" fmla="*/ 3175 w 266700"/>
                <a:gd name="connsiteY0" fmla="*/ 461010 h 463550"/>
                <a:gd name="connsiteX1" fmla="*/ 3175 w 266700"/>
                <a:gd name="connsiteY1" fmla="*/ 359410 h 463550"/>
                <a:gd name="connsiteX2" fmla="*/ 267335 w 266700"/>
                <a:gd name="connsiteY2" fmla="*/ 3175 h 463550"/>
                <a:gd name="connsiteX3" fmla="*/ 267335 w 266700"/>
                <a:gd name="connsiteY3" fmla="*/ 308610 h 463550"/>
                <a:gd name="connsiteX4" fmla="*/ 3175 w 266700"/>
                <a:gd name="connsiteY4" fmla="*/ 461010 h 46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700" h="463550">
                  <a:moveTo>
                    <a:pt x="3175" y="461010"/>
                  </a:moveTo>
                  <a:lnTo>
                    <a:pt x="3175" y="359410"/>
                  </a:lnTo>
                  <a:lnTo>
                    <a:pt x="267335" y="3175"/>
                  </a:lnTo>
                  <a:lnTo>
                    <a:pt x="267335" y="308610"/>
                  </a:lnTo>
                  <a:lnTo>
                    <a:pt x="3175" y="461010"/>
                  </a:ln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3" name="任意多边形: 形状 9792"/>
            <p:cNvSpPr/>
            <p:nvPr/>
          </p:nvSpPr>
          <p:spPr>
            <a:xfrm>
              <a:off x="9258618" y="3784283"/>
              <a:ext cx="1092200" cy="812800"/>
            </a:xfrm>
            <a:custGeom>
              <a:avLst/>
              <a:gdLst>
                <a:gd name="connsiteX0" fmla="*/ 274002 w 1092200"/>
                <a:gd name="connsiteY0" fmla="*/ 813117 h 812800"/>
                <a:gd name="connsiteX1" fmla="*/ 1091882 w 1092200"/>
                <a:gd name="connsiteY1" fmla="*/ 347027 h 812800"/>
                <a:gd name="connsiteX2" fmla="*/ 801688 w 1092200"/>
                <a:gd name="connsiteY2" fmla="*/ 4763 h 812800"/>
                <a:gd name="connsiteX3" fmla="*/ 4763 w 1092200"/>
                <a:gd name="connsiteY3" fmla="*/ 464502 h 812800"/>
                <a:gd name="connsiteX4" fmla="*/ 274002 w 1092200"/>
                <a:gd name="connsiteY4" fmla="*/ 813117 h 81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2200" h="812800">
                  <a:moveTo>
                    <a:pt x="274002" y="813117"/>
                  </a:moveTo>
                  <a:lnTo>
                    <a:pt x="1091882" y="347027"/>
                  </a:lnTo>
                  <a:lnTo>
                    <a:pt x="801688" y="4763"/>
                  </a:lnTo>
                  <a:lnTo>
                    <a:pt x="4763" y="464502"/>
                  </a:lnTo>
                  <a:lnTo>
                    <a:pt x="274002" y="813117"/>
                  </a:lnTo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4" name="任意多边形: 形状 9793"/>
            <p:cNvSpPr/>
            <p:nvPr/>
          </p:nvSpPr>
          <p:spPr>
            <a:xfrm>
              <a:off x="9526588" y="4126547"/>
              <a:ext cx="825500" cy="577850"/>
            </a:xfrm>
            <a:custGeom>
              <a:avLst/>
              <a:gdLst>
                <a:gd name="connsiteX0" fmla="*/ 4763 w 825500"/>
                <a:gd name="connsiteY0" fmla="*/ 468948 h 577850"/>
                <a:gd name="connsiteX1" fmla="*/ 4763 w 825500"/>
                <a:gd name="connsiteY1" fmla="*/ 578168 h 577850"/>
                <a:gd name="connsiteX2" fmla="*/ 823913 w 825500"/>
                <a:gd name="connsiteY2" fmla="*/ 110173 h 577850"/>
                <a:gd name="connsiteX3" fmla="*/ 823913 w 825500"/>
                <a:gd name="connsiteY3" fmla="*/ 4763 h 57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5500" h="577850">
                  <a:moveTo>
                    <a:pt x="4763" y="468948"/>
                  </a:moveTo>
                  <a:lnTo>
                    <a:pt x="4763" y="578168"/>
                  </a:lnTo>
                  <a:lnTo>
                    <a:pt x="823913" y="110173"/>
                  </a:lnTo>
                  <a:lnTo>
                    <a:pt x="823913" y="4763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5" name="任意多边形: 形状 9794"/>
            <p:cNvSpPr/>
            <p:nvPr/>
          </p:nvSpPr>
          <p:spPr>
            <a:xfrm>
              <a:off x="9258618" y="4244022"/>
              <a:ext cx="273050" cy="463550"/>
            </a:xfrm>
            <a:custGeom>
              <a:avLst/>
              <a:gdLst>
                <a:gd name="connsiteX0" fmla="*/ 272732 w 273050"/>
                <a:gd name="connsiteY0" fmla="*/ 460693 h 463550"/>
                <a:gd name="connsiteX1" fmla="*/ 4763 w 273050"/>
                <a:gd name="connsiteY1" fmla="*/ 310198 h 463550"/>
                <a:gd name="connsiteX2" fmla="*/ 4763 w 273050"/>
                <a:gd name="connsiteY2" fmla="*/ 4763 h 463550"/>
                <a:gd name="connsiteX3" fmla="*/ 272732 w 273050"/>
                <a:gd name="connsiteY3" fmla="*/ 351473 h 46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3050" h="463550">
                  <a:moveTo>
                    <a:pt x="272732" y="460693"/>
                  </a:moveTo>
                  <a:lnTo>
                    <a:pt x="4763" y="310198"/>
                  </a:lnTo>
                  <a:lnTo>
                    <a:pt x="4763" y="4763"/>
                  </a:lnTo>
                  <a:lnTo>
                    <a:pt x="272732" y="351473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6" name="任意多边形: 形状 9795"/>
            <p:cNvSpPr/>
            <p:nvPr/>
          </p:nvSpPr>
          <p:spPr>
            <a:xfrm>
              <a:off x="8025447" y="3301683"/>
              <a:ext cx="266700" cy="184150"/>
            </a:xfrm>
            <a:custGeom>
              <a:avLst/>
              <a:gdLst>
                <a:gd name="connsiteX0" fmla="*/ 4763 w 266700"/>
                <a:gd name="connsiteY0" fmla="*/ 31433 h 184150"/>
                <a:gd name="connsiteX1" fmla="*/ 51753 w 266700"/>
                <a:gd name="connsiteY1" fmla="*/ 4763 h 184150"/>
                <a:gd name="connsiteX2" fmla="*/ 267018 w 266700"/>
                <a:gd name="connsiteY2" fmla="*/ 126047 h 184150"/>
                <a:gd name="connsiteX3" fmla="*/ 267018 w 266700"/>
                <a:gd name="connsiteY3" fmla="*/ 183197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184150">
                  <a:moveTo>
                    <a:pt x="4763" y="31433"/>
                  </a:moveTo>
                  <a:lnTo>
                    <a:pt x="51753" y="4763"/>
                  </a:lnTo>
                  <a:lnTo>
                    <a:pt x="267018" y="126047"/>
                  </a:lnTo>
                  <a:lnTo>
                    <a:pt x="267018" y="183197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7" name="任意多边形: 形状 9796"/>
            <p:cNvSpPr/>
            <p:nvPr/>
          </p:nvSpPr>
          <p:spPr>
            <a:xfrm>
              <a:off x="8379778" y="3506153"/>
              <a:ext cx="266700" cy="184150"/>
            </a:xfrm>
            <a:custGeom>
              <a:avLst/>
              <a:gdLst>
                <a:gd name="connsiteX0" fmla="*/ 4763 w 266700"/>
                <a:gd name="connsiteY0" fmla="*/ 32067 h 184150"/>
                <a:gd name="connsiteX1" fmla="*/ 51753 w 266700"/>
                <a:gd name="connsiteY1" fmla="*/ 4763 h 184150"/>
                <a:gd name="connsiteX2" fmla="*/ 267017 w 266700"/>
                <a:gd name="connsiteY2" fmla="*/ 126682 h 184150"/>
                <a:gd name="connsiteX3" fmla="*/ 267017 w 266700"/>
                <a:gd name="connsiteY3" fmla="*/ 183832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184150">
                  <a:moveTo>
                    <a:pt x="4763" y="32067"/>
                  </a:moveTo>
                  <a:lnTo>
                    <a:pt x="51753" y="4763"/>
                  </a:lnTo>
                  <a:lnTo>
                    <a:pt x="267017" y="126682"/>
                  </a:lnTo>
                  <a:lnTo>
                    <a:pt x="267017" y="183832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8" name="任意多边形: 形状 9797"/>
            <p:cNvSpPr/>
            <p:nvPr/>
          </p:nvSpPr>
          <p:spPr>
            <a:xfrm>
              <a:off x="8727122" y="3709353"/>
              <a:ext cx="266700" cy="184150"/>
            </a:xfrm>
            <a:custGeom>
              <a:avLst/>
              <a:gdLst>
                <a:gd name="connsiteX0" fmla="*/ 4763 w 266700"/>
                <a:gd name="connsiteY0" fmla="*/ 32067 h 184150"/>
                <a:gd name="connsiteX1" fmla="*/ 51753 w 266700"/>
                <a:gd name="connsiteY1" fmla="*/ 4763 h 184150"/>
                <a:gd name="connsiteX2" fmla="*/ 267018 w 266700"/>
                <a:gd name="connsiteY2" fmla="*/ 126682 h 184150"/>
                <a:gd name="connsiteX3" fmla="*/ 267018 w 266700"/>
                <a:gd name="connsiteY3" fmla="*/ 183832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184150">
                  <a:moveTo>
                    <a:pt x="4763" y="32067"/>
                  </a:moveTo>
                  <a:lnTo>
                    <a:pt x="51753" y="4763"/>
                  </a:lnTo>
                  <a:lnTo>
                    <a:pt x="267018" y="126682"/>
                  </a:lnTo>
                  <a:lnTo>
                    <a:pt x="267018" y="183832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9" name="任意多边形: 形状 9798"/>
            <p:cNvSpPr/>
            <p:nvPr/>
          </p:nvSpPr>
          <p:spPr>
            <a:xfrm>
              <a:off x="8025447" y="2916873"/>
              <a:ext cx="50800" cy="419100"/>
            </a:xfrm>
            <a:custGeom>
              <a:avLst/>
              <a:gdLst>
                <a:gd name="connsiteX0" fmla="*/ 4763 w 50800"/>
                <a:gd name="connsiteY0" fmla="*/ 416243 h 419100"/>
                <a:gd name="connsiteX1" fmla="*/ 4763 w 50800"/>
                <a:gd name="connsiteY1" fmla="*/ 4763 h 419100"/>
                <a:gd name="connsiteX2" fmla="*/ 51753 w 50800"/>
                <a:gd name="connsiteY2" fmla="*/ 36513 h 419100"/>
                <a:gd name="connsiteX3" fmla="*/ 51753 w 50800"/>
                <a:gd name="connsiteY3" fmla="*/ 389573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419100">
                  <a:moveTo>
                    <a:pt x="4763" y="416243"/>
                  </a:moveTo>
                  <a:lnTo>
                    <a:pt x="4763" y="4763"/>
                  </a:lnTo>
                  <a:lnTo>
                    <a:pt x="51753" y="36513"/>
                  </a:lnTo>
                  <a:lnTo>
                    <a:pt x="51753" y="389573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0" name="任意多边形: 形状 9799"/>
            <p:cNvSpPr/>
            <p:nvPr/>
          </p:nvSpPr>
          <p:spPr>
            <a:xfrm>
              <a:off x="8379778" y="3121977"/>
              <a:ext cx="50800" cy="419100"/>
            </a:xfrm>
            <a:custGeom>
              <a:avLst/>
              <a:gdLst>
                <a:gd name="connsiteX0" fmla="*/ 4763 w 50800"/>
                <a:gd name="connsiteY0" fmla="*/ 416243 h 419100"/>
                <a:gd name="connsiteX1" fmla="*/ 4763 w 50800"/>
                <a:gd name="connsiteY1" fmla="*/ 4763 h 419100"/>
                <a:gd name="connsiteX2" fmla="*/ 51753 w 50800"/>
                <a:gd name="connsiteY2" fmla="*/ 36513 h 419100"/>
                <a:gd name="connsiteX3" fmla="*/ 51753 w 50800"/>
                <a:gd name="connsiteY3" fmla="*/ 388938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419100">
                  <a:moveTo>
                    <a:pt x="4763" y="416243"/>
                  </a:moveTo>
                  <a:lnTo>
                    <a:pt x="4763" y="4763"/>
                  </a:lnTo>
                  <a:lnTo>
                    <a:pt x="51753" y="36513"/>
                  </a:lnTo>
                  <a:lnTo>
                    <a:pt x="51753" y="388938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3" name="任意多边形: 形状 9802"/>
            <p:cNvSpPr/>
            <p:nvPr/>
          </p:nvSpPr>
          <p:spPr>
            <a:xfrm>
              <a:off x="8727122" y="3325178"/>
              <a:ext cx="50800" cy="419100"/>
            </a:xfrm>
            <a:custGeom>
              <a:avLst/>
              <a:gdLst>
                <a:gd name="connsiteX0" fmla="*/ 4763 w 50800"/>
                <a:gd name="connsiteY0" fmla="*/ 416242 h 419100"/>
                <a:gd name="connsiteX1" fmla="*/ 4763 w 50800"/>
                <a:gd name="connsiteY1" fmla="*/ 4763 h 419100"/>
                <a:gd name="connsiteX2" fmla="*/ 51753 w 50800"/>
                <a:gd name="connsiteY2" fmla="*/ 36513 h 419100"/>
                <a:gd name="connsiteX3" fmla="*/ 51753 w 50800"/>
                <a:gd name="connsiteY3" fmla="*/ 388938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419100">
                  <a:moveTo>
                    <a:pt x="4763" y="416242"/>
                  </a:moveTo>
                  <a:lnTo>
                    <a:pt x="4763" y="4763"/>
                  </a:lnTo>
                  <a:lnTo>
                    <a:pt x="51753" y="36513"/>
                  </a:lnTo>
                  <a:lnTo>
                    <a:pt x="51753" y="388938"/>
                  </a:lnTo>
                  <a:close/>
                </a:path>
              </a:pathLst>
            </a:custGeom>
            <a:solidFill>
              <a:srgbClr val="E8F2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4" name="任意多边形: 形状 9803"/>
            <p:cNvSpPr/>
            <p:nvPr/>
          </p:nvSpPr>
          <p:spPr>
            <a:xfrm>
              <a:off x="9260205" y="3710940"/>
              <a:ext cx="355600" cy="234950"/>
            </a:xfrm>
            <a:custGeom>
              <a:avLst/>
              <a:gdLst>
                <a:gd name="connsiteX0" fmla="*/ 3175 w 355600"/>
                <a:gd name="connsiteY0" fmla="*/ 182245 h 234950"/>
                <a:gd name="connsiteX1" fmla="*/ 311150 w 355600"/>
                <a:gd name="connsiteY1" fmla="*/ 3175 h 234950"/>
                <a:gd name="connsiteX2" fmla="*/ 355600 w 355600"/>
                <a:gd name="connsiteY2" fmla="*/ 29210 h 234950"/>
                <a:gd name="connsiteX3" fmla="*/ 3175 w 355600"/>
                <a:gd name="connsiteY3" fmla="*/ 233045 h 234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5600" h="234950">
                  <a:moveTo>
                    <a:pt x="3175" y="182245"/>
                  </a:moveTo>
                  <a:lnTo>
                    <a:pt x="311150" y="3175"/>
                  </a:lnTo>
                  <a:lnTo>
                    <a:pt x="355600" y="29210"/>
                  </a:lnTo>
                  <a:lnTo>
                    <a:pt x="3175" y="233045"/>
                  </a:lnTo>
                  <a:close/>
                </a:path>
              </a:pathLst>
            </a:custGeom>
            <a:solidFill>
              <a:srgbClr val="A9BDF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5" name="任意多边形: 形状 9804"/>
            <p:cNvSpPr/>
            <p:nvPr/>
          </p:nvSpPr>
          <p:spPr>
            <a:xfrm>
              <a:off x="9700895" y="3456940"/>
              <a:ext cx="355600" cy="234950"/>
            </a:xfrm>
            <a:custGeom>
              <a:avLst/>
              <a:gdLst>
                <a:gd name="connsiteX0" fmla="*/ 3175 w 355600"/>
                <a:gd name="connsiteY0" fmla="*/ 181610 h 234950"/>
                <a:gd name="connsiteX1" fmla="*/ 310515 w 355600"/>
                <a:gd name="connsiteY1" fmla="*/ 3175 h 234950"/>
                <a:gd name="connsiteX2" fmla="*/ 355600 w 355600"/>
                <a:gd name="connsiteY2" fmla="*/ 29210 h 234950"/>
                <a:gd name="connsiteX3" fmla="*/ 3175 w 355600"/>
                <a:gd name="connsiteY3" fmla="*/ 232410 h 234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5600" h="234950">
                  <a:moveTo>
                    <a:pt x="3175" y="181610"/>
                  </a:moveTo>
                  <a:lnTo>
                    <a:pt x="310515" y="3175"/>
                  </a:lnTo>
                  <a:lnTo>
                    <a:pt x="355600" y="29210"/>
                  </a:lnTo>
                  <a:lnTo>
                    <a:pt x="3175" y="232410"/>
                  </a:lnTo>
                  <a:close/>
                </a:path>
              </a:pathLst>
            </a:custGeom>
            <a:solidFill>
              <a:srgbClr val="E8F2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6" name="任意多边形: 形状 9805"/>
            <p:cNvSpPr/>
            <p:nvPr/>
          </p:nvSpPr>
          <p:spPr>
            <a:xfrm>
              <a:off x="10008235" y="3075940"/>
              <a:ext cx="50800" cy="412750"/>
            </a:xfrm>
            <a:custGeom>
              <a:avLst/>
              <a:gdLst>
                <a:gd name="connsiteX0" fmla="*/ 3175 w 50800"/>
                <a:gd name="connsiteY0" fmla="*/ 29210 h 412750"/>
                <a:gd name="connsiteX1" fmla="*/ 48260 w 50800"/>
                <a:gd name="connsiteY1" fmla="*/ 3175 h 412750"/>
                <a:gd name="connsiteX2" fmla="*/ 48260 w 50800"/>
                <a:gd name="connsiteY2" fmla="*/ 410210 h 412750"/>
                <a:gd name="connsiteX3" fmla="*/ 3175 w 50800"/>
                <a:gd name="connsiteY3" fmla="*/ 384175 h 4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412750">
                  <a:moveTo>
                    <a:pt x="3175" y="29210"/>
                  </a:moveTo>
                  <a:lnTo>
                    <a:pt x="48260" y="3175"/>
                  </a:lnTo>
                  <a:lnTo>
                    <a:pt x="48260" y="410210"/>
                  </a:lnTo>
                  <a:lnTo>
                    <a:pt x="3175" y="384175"/>
                  </a:lnTo>
                  <a:close/>
                </a:path>
              </a:pathLst>
            </a:custGeom>
            <a:solidFill>
              <a:srgbClr val="E8F2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7" name="任意多边形: 形状 9806"/>
            <p:cNvSpPr/>
            <p:nvPr/>
          </p:nvSpPr>
          <p:spPr>
            <a:xfrm>
              <a:off x="9568180" y="3329940"/>
              <a:ext cx="50800" cy="412750"/>
            </a:xfrm>
            <a:custGeom>
              <a:avLst/>
              <a:gdLst>
                <a:gd name="connsiteX0" fmla="*/ 3175 w 50800"/>
                <a:gd name="connsiteY0" fmla="*/ 29210 h 412750"/>
                <a:gd name="connsiteX1" fmla="*/ 47625 w 50800"/>
                <a:gd name="connsiteY1" fmla="*/ 3175 h 412750"/>
                <a:gd name="connsiteX2" fmla="*/ 47625 w 50800"/>
                <a:gd name="connsiteY2" fmla="*/ 410210 h 412750"/>
                <a:gd name="connsiteX3" fmla="*/ 3175 w 50800"/>
                <a:gd name="connsiteY3" fmla="*/ 384175 h 4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412750">
                  <a:moveTo>
                    <a:pt x="3175" y="29210"/>
                  </a:moveTo>
                  <a:lnTo>
                    <a:pt x="47625" y="3175"/>
                  </a:lnTo>
                  <a:lnTo>
                    <a:pt x="47625" y="410210"/>
                  </a:lnTo>
                  <a:lnTo>
                    <a:pt x="3175" y="384175"/>
                  </a:lnTo>
                  <a:close/>
                </a:path>
              </a:pathLst>
            </a:custGeom>
            <a:solidFill>
              <a:srgbClr val="E8F2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8" name="任意多边形: 形状 9807"/>
            <p:cNvSpPr/>
            <p:nvPr/>
          </p:nvSpPr>
          <p:spPr>
            <a:xfrm>
              <a:off x="7895590" y="3710940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680 h 387350"/>
                <a:gd name="connsiteX2" fmla="*/ 44450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680"/>
                  </a:lnTo>
                  <a:lnTo>
                    <a:pt x="44450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9" name="任意多边形: 形状 9808"/>
            <p:cNvSpPr/>
            <p:nvPr/>
          </p:nvSpPr>
          <p:spPr>
            <a:xfrm>
              <a:off x="7988935" y="3761740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680 h 387350"/>
                <a:gd name="connsiteX2" fmla="*/ 44450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680"/>
                  </a:lnTo>
                  <a:lnTo>
                    <a:pt x="44450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0" name="任意多边形: 形状 9809"/>
            <p:cNvSpPr/>
            <p:nvPr/>
          </p:nvSpPr>
          <p:spPr>
            <a:xfrm>
              <a:off x="8082280" y="3819525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680 h 387350"/>
                <a:gd name="connsiteX2" fmla="*/ 44450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680"/>
                  </a:lnTo>
                  <a:lnTo>
                    <a:pt x="44450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1" name="任意多边形: 形状 9810"/>
            <p:cNvSpPr/>
            <p:nvPr/>
          </p:nvSpPr>
          <p:spPr>
            <a:xfrm>
              <a:off x="8169910" y="3871595"/>
              <a:ext cx="298450" cy="387350"/>
            </a:xfrm>
            <a:custGeom>
              <a:avLst/>
              <a:gdLst>
                <a:gd name="connsiteX0" fmla="*/ 266065 w 298450"/>
                <a:gd name="connsiteY0" fmla="*/ 3175 h 387350"/>
                <a:gd name="connsiteX1" fmla="*/ 3175 w 298450"/>
                <a:gd name="connsiteY1" fmla="*/ 360045 h 387350"/>
                <a:gd name="connsiteX2" fmla="*/ 45085 w 298450"/>
                <a:gd name="connsiteY2" fmla="*/ 385445 h 387350"/>
                <a:gd name="connsiteX3" fmla="*/ 300990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6065" y="3175"/>
                  </a:moveTo>
                  <a:lnTo>
                    <a:pt x="3175" y="360045"/>
                  </a:lnTo>
                  <a:lnTo>
                    <a:pt x="45085" y="385445"/>
                  </a:lnTo>
                  <a:lnTo>
                    <a:pt x="300990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2" name="任意多边形: 形状 9811"/>
            <p:cNvSpPr/>
            <p:nvPr/>
          </p:nvSpPr>
          <p:spPr>
            <a:xfrm>
              <a:off x="8261985" y="3922395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045 h 387350"/>
                <a:gd name="connsiteX2" fmla="*/ 44450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045"/>
                  </a:lnTo>
                  <a:lnTo>
                    <a:pt x="44450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3" name="任意多边形: 形状 9812"/>
            <p:cNvSpPr/>
            <p:nvPr/>
          </p:nvSpPr>
          <p:spPr>
            <a:xfrm>
              <a:off x="8353425" y="3977640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045 h 387350"/>
                <a:gd name="connsiteX2" fmla="*/ 44450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045"/>
                  </a:lnTo>
                  <a:lnTo>
                    <a:pt x="44450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4" name="任意多边形: 形状 9813"/>
            <p:cNvSpPr/>
            <p:nvPr/>
          </p:nvSpPr>
          <p:spPr>
            <a:xfrm>
              <a:off x="8445500" y="4029075"/>
              <a:ext cx="298450" cy="387350"/>
            </a:xfrm>
            <a:custGeom>
              <a:avLst/>
              <a:gdLst>
                <a:gd name="connsiteX0" fmla="*/ 266065 w 298450"/>
                <a:gd name="connsiteY0" fmla="*/ 3175 h 387350"/>
                <a:gd name="connsiteX1" fmla="*/ 3175 w 298450"/>
                <a:gd name="connsiteY1" fmla="*/ 360680 h 387350"/>
                <a:gd name="connsiteX2" fmla="*/ 45085 w 298450"/>
                <a:gd name="connsiteY2" fmla="*/ 385445 h 387350"/>
                <a:gd name="connsiteX3" fmla="*/ 300990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6065" y="3175"/>
                  </a:moveTo>
                  <a:lnTo>
                    <a:pt x="3175" y="360680"/>
                  </a:lnTo>
                  <a:lnTo>
                    <a:pt x="45085" y="385445"/>
                  </a:lnTo>
                  <a:lnTo>
                    <a:pt x="300990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5" name="任意多边形: 形状 9814"/>
            <p:cNvSpPr/>
            <p:nvPr/>
          </p:nvSpPr>
          <p:spPr>
            <a:xfrm>
              <a:off x="8533765" y="4079240"/>
              <a:ext cx="298450" cy="387350"/>
            </a:xfrm>
            <a:custGeom>
              <a:avLst/>
              <a:gdLst>
                <a:gd name="connsiteX0" fmla="*/ 266065 w 298450"/>
                <a:gd name="connsiteY0" fmla="*/ 3175 h 387350"/>
                <a:gd name="connsiteX1" fmla="*/ 3175 w 298450"/>
                <a:gd name="connsiteY1" fmla="*/ 360045 h 387350"/>
                <a:gd name="connsiteX2" fmla="*/ 45085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6065" y="3175"/>
                  </a:moveTo>
                  <a:lnTo>
                    <a:pt x="3175" y="360045"/>
                  </a:lnTo>
                  <a:lnTo>
                    <a:pt x="45085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6" name="任意多边形: 形状 9815"/>
            <p:cNvSpPr/>
            <p:nvPr/>
          </p:nvSpPr>
          <p:spPr>
            <a:xfrm>
              <a:off x="8628380" y="4136390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045 h 387350"/>
                <a:gd name="connsiteX2" fmla="*/ 44450 w 298450"/>
                <a:gd name="connsiteY2" fmla="*/ 385445 h 387350"/>
                <a:gd name="connsiteX3" fmla="*/ 300355 w 298450"/>
                <a:gd name="connsiteY3" fmla="*/ 29845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045"/>
                  </a:lnTo>
                  <a:lnTo>
                    <a:pt x="44450" y="385445"/>
                  </a:lnTo>
                  <a:lnTo>
                    <a:pt x="300355" y="2984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7" name="任意多边形: 形状 9816"/>
            <p:cNvSpPr/>
            <p:nvPr/>
          </p:nvSpPr>
          <p:spPr>
            <a:xfrm>
              <a:off x="8724900" y="4192270"/>
              <a:ext cx="298450" cy="387350"/>
            </a:xfrm>
            <a:custGeom>
              <a:avLst/>
              <a:gdLst>
                <a:gd name="connsiteX0" fmla="*/ 265430 w 298450"/>
                <a:gd name="connsiteY0" fmla="*/ 3175 h 387350"/>
                <a:gd name="connsiteX1" fmla="*/ 3175 w 298450"/>
                <a:gd name="connsiteY1" fmla="*/ 360045 h 387350"/>
                <a:gd name="connsiteX2" fmla="*/ 44450 w 298450"/>
                <a:gd name="connsiteY2" fmla="*/ 385445 h 387350"/>
                <a:gd name="connsiteX3" fmla="*/ 300355 w 298450"/>
                <a:gd name="connsiteY3" fmla="*/ 3048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50" h="387350">
                  <a:moveTo>
                    <a:pt x="265430" y="3175"/>
                  </a:moveTo>
                  <a:lnTo>
                    <a:pt x="3175" y="360045"/>
                  </a:lnTo>
                  <a:lnTo>
                    <a:pt x="44450" y="385445"/>
                  </a:lnTo>
                  <a:lnTo>
                    <a:pt x="30035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8" name="任意多边形: 形状 9817"/>
            <p:cNvSpPr/>
            <p:nvPr/>
          </p:nvSpPr>
          <p:spPr>
            <a:xfrm>
              <a:off x="7895590" y="4068445"/>
              <a:ext cx="44450" cy="127000"/>
            </a:xfrm>
            <a:custGeom>
              <a:avLst/>
              <a:gdLst>
                <a:gd name="connsiteX0" fmla="*/ 3175 w 44450"/>
                <a:gd name="connsiteY0" fmla="*/ 3175 h 127000"/>
                <a:gd name="connsiteX1" fmla="*/ 3175 w 44450"/>
                <a:gd name="connsiteY1" fmla="*/ 103505 h 127000"/>
                <a:gd name="connsiteX2" fmla="*/ 46355 w 44450"/>
                <a:gd name="connsiteY2" fmla="*/ 129540 h 127000"/>
                <a:gd name="connsiteX3" fmla="*/ 44450 w 44450"/>
                <a:gd name="connsiteY3" fmla="*/ 27940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127000">
                  <a:moveTo>
                    <a:pt x="3175" y="3175"/>
                  </a:moveTo>
                  <a:lnTo>
                    <a:pt x="3175" y="103505"/>
                  </a:lnTo>
                  <a:lnTo>
                    <a:pt x="46355" y="129540"/>
                  </a:lnTo>
                  <a:lnTo>
                    <a:pt x="44450" y="2794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9" name="任意多边形: 形状 9818"/>
            <p:cNvSpPr/>
            <p:nvPr/>
          </p:nvSpPr>
          <p:spPr>
            <a:xfrm>
              <a:off x="7988935" y="4117340"/>
              <a:ext cx="44450" cy="133350"/>
            </a:xfrm>
            <a:custGeom>
              <a:avLst/>
              <a:gdLst>
                <a:gd name="connsiteX0" fmla="*/ 3175 w 44450"/>
                <a:gd name="connsiteY0" fmla="*/ 3175 h 133350"/>
                <a:gd name="connsiteX1" fmla="*/ 3175 w 44450"/>
                <a:gd name="connsiteY1" fmla="*/ 109855 h 133350"/>
                <a:gd name="connsiteX2" fmla="*/ 46355 w 44450"/>
                <a:gd name="connsiteY2" fmla="*/ 133985 h 133350"/>
                <a:gd name="connsiteX3" fmla="*/ 44450 w 44450"/>
                <a:gd name="connsiteY3" fmla="*/ 2921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133350">
                  <a:moveTo>
                    <a:pt x="3175" y="3175"/>
                  </a:moveTo>
                  <a:lnTo>
                    <a:pt x="3175" y="109855"/>
                  </a:lnTo>
                  <a:lnTo>
                    <a:pt x="46355" y="133985"/>
                  </a:lnTo>
                  <a:lnTo>
                    <a:pt x="44450" y="2921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0" name="任意多边形: 形状 9819"/>
            <p:cNvSpPr/>
            <p:nvPr/>
          </p:nvSpPr>
          <p:spPr>
            <a:xfrm>
              <a:off x="8079740" y="4177030"/>
              <a:ext cx="44450" cy="127000"/>
            </a:xfrm>
            <a:custGeom>
              <a:avLst/>
              <a:gdLst>
                <a:gd name="connsiteX0" fmla="*/ 5715 w 44450"/>
                <a:gd name="connsiteY0" fmla="*/ 3175 h 127000"/>
                <a:gd name="connsiteX1" fmla="*/ 3175 w 44450"/>
                <a:gd name="connsiteY1" fmla="*/ 102870 h 127000"/>
                <a:gd name="connsiteX2" fmla="*/ 45720 w 44450"/>
                <a:gd name="connsiteY2" fmla="*/ 127000 h 127000"/>
                <a:gd name="connsiteX3" fmla="*/ 46990 w 44450"/>
                <a:gd name="connsiteY3" fmla="*/ 27940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127000">
                  <a:moveTo>
                    <a:pt x="5715" y="3175"/>
                  </a:moveTo>
                  <a:lnTo>
                    <a:pt x="3175" y="102870"/>
                  </a:lnTo>
                  <a:lnTo>
                    <a:pt x="45720" y="127000"/>
                  </a:lnTo>
                  <a:lnTo>
                    <a:pt x="46990" y="2794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1" name="任意多边形: 形状 9820"/>
            <p:cNvSpPr/>
            <p:nvPr/>
          </p:nvSpPr>
          <p:spPr>
            <a:xfrm>
              <a:off x="8167370" y="4227195"/>
              <a:ext cx="50800" cy="127000"/>
            </a:xfrm>
            <a:custGeom>
              <a:avLst/>
              <a:gdLst>
                <a:gd name="connsiteX0" fmla="*/ 5715 w 50800"/>
                <a:gd name="connsiteY0" fmla="*/ 3175 h 127000"/>
                <a:gd name="connsiteX1" fmla="*/ 3175 w 50800"/>
                <a:gd name="connsiteY1" fmla="*/ 103505 h 127000"/>
                <a:gd name="connsiteX2" fmla="*/ 46355 w 50800"/>
                <a:gd name="connsiteY2" fmla="*/ 127635 h 127000"/>
                <a:gd name="connsiteX3" fmla="*/ 47625 w 50800"/>
                <a:gd name="connsiteY3" fmla="*/ 28575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27000">
                  <a:moveTo>
                    <a:pt x="5715" y="3175"/>
                  </a:moveTo>
                  <a:lnTo>
                    <a:pt x="3175" y="103505"/>
                  </a:lnTo>
                  <a:lnTo>
                    <a:pt x="46355" y="127635"/>
                  </a:lnTo>
                  <a:lnTo>
                    <a:pt x="47625" y="285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2" name="任意多边形: 形状 9821"/>
            <p:cNvSpPr/>
            <p:nvPr/>
          </p:nvSpPr>
          <p:spPr>
            <a:xfrm>
              <a:off x="8258810" y="4279265"/>
              <a:ext cx="44450" cy="127000"/>
            </a:xfrm>
            <a:custGeom>
              <a:avLst/>
              <a:gdLst>
                <a:gd name="connsiteX0" fmla="*/ 5715 w 44450"/>
                <a:gd name="connsiteY0" fmla="*/ 3175 h 127000"/>
                <a:gd name="connsiteX1" fmla="*/ 3175 w 44450"/>
                <a:gd name="connsiteY1" fmla="*/ 102870 h 127000"/>
                <a:gd name="connsiteX2" fmla="*/ 46355 w 44450"/>
                <a:gd name="connsiteY2" fmla="*/ 127000 h 127000"/>
                <a:gd name="connsiteX3" fmla="*/ 46990 w 44450"/>
                <a:gd name="connsiteY3" fmla="*/ 28575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127000">
                  <a:moveTo>
                    <a:pt x="5715" y="3175"/>
                  </a:moveTo>
                  <a:lnTo>
                    <a:pt x="3175" y="102870"/>
                  </a:lnTo>
                  <a:lnTo>
                    <a:pt x="46355" y="127000"/>
                  </a:lnTo>
                  <a:lnTo>
                    <a:pt x="46990" y="285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3" name="任意多边形: 形状 9822"/>
            <p:cNvSpPr/>
            <p:nvPr/>
          </p:nvSpPr>
          <p:spPr>
            <a:xfrm>
              <a:off x="8350885" y="4334510"/>
              <a:ext cx="44450" cy="127000"/>
            </a:xfrm>
            <a:custGeom>
              <a:avLst/>
              <a:gdLst>
                <a:gd name="connsiteX0" fmla="*/ 5715 w 44450"/>
                <a:gd name="connsiteY0" fmla="*/ 3175 h 127000"/>
                <a:gd name="connsiteX1" fmla="*/ 3175 w 44450"/>
                <a:gd name="connsiteY1" fmla="*/ 102870 h 127000"/>
                <a:gd name="connsiteX2" fmla="*/ 45720 w 44450"/>
                <a:gd name="connsiteY2" fmla="*/ 127000 h 127000"/>
                <a:gd name="connsiteX3" fmla="*/ 46990 w 44450"/>
                <a:gd name="connsiteY3" fmla="*/ 27940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127000">
                  <a:moveTo>
                    <a:pt x="5715" y="3175"/>
                  </a:moveTo>
                  <a:lnTo>
                    <a:pt x="3175" y="102870"/>
                  </a:lnTo>
                  <a:lnTo>
                    <a:pt x="45720" y="127000"/>
                  </a:lnTo>
                  <a:lnTo>
                    <a:pt x="46990" y="2794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4" name="任意多边形: 形状 9823"/>
            <p:cNvSpPr/>
            <p:nvPr/>
          </p:nvSpPr>
          <p:spPr>
            <a:xfrm>
              <a:off x="8443595" y="4385310"/>
              <a:ext cx="50800" cy="127000"/>
            </a:xfrm>
            <a:custGeom>
              <a:avLst/>
              <a:gdLst>
                <a:gd name="connsiteX0" fmla="*/ 5715 w 50800"/>
                <a:gd name="connsiteY0" fmla="*/ 3175 h 127000"/>
                <a:gd name="connsiteX1" fmla="*/ 3175 w 50800"/>
                <a:gd name="connsiteY1" fmla="*/ 104140 h 127000"/>
                <a:gd name="connsiteX2" fmla="*/ 46355 w 50800"/>
                <a:gd name="connsiteY2" fmla="*/ 128270 h 127000"/>
                <a:gd name="connsiteX3" fmla="*/ 47625 w 50800"/>
                <a:gd name="connsiteY3" fmla="*/ 27940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27000">
                  <a:moveTo>
                    <a:pt x="5715" y="3175"/>
                  </a:moveTo>
                  <a:lnTo>
                    <a:pt x="3175" y="104140"/>
                  </a:lnTo>
                  <a:lnTo>
                    <a:pt x="46355" y="128270"/>
                  </a:lnTo>
                  <a:lnTo>
                    <a:pt x="47625" y="2794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5" name="任意多边形: 形状 9824"/>
            <p:cNvSpPr/>
            <p:nvPr/>
          </p:nvSpPr>
          <p:spPr>
            <a:xfrm>
              <a:off x="8530590" y="4436110"/>
              <a:ext cx="50800" cy="127000"/>
            </a:xfrm>
            <a:custGeom>
              <a:avLst/>
              <a:gdLst>
                <a:gd name="connsiteX0" fmla="*/ 5715 w 50800"/>
                <a:gd name="connsiteY0" fmla="*/ 3175 h 127000"/>
                <a:gd name="connsiteX1" fmla="*/ 3175 w 50800"/>
                <a:gd name="connsiteY1" fmla="*/ 104775 h 127000"/>
                <a:gd name="connsiteX2" fmla="*/ 46355 w 50800"/>
                <a:gd name="connsiteY2" fmla="*/ 128905 h 127000"/>
                <a:gd name="connsiteX3" fmla="*/ 47625 w 50800"/>
                <a:gd name="connsiteY3" fmla="*/ 28575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27000">
                  <a:moveTo>
                    <a:pt x="5715" y="3175"/>
                  </a:moveTo>
                  <a:lnTo>
                    <a:pt x="3175" y="104775"/>
                  </a:lnTo>
                  <a:lnTo>
                    <a:pt x="46355" y="128905"/>
                  </a:lnTo>
                  <a:lnTo>
                    <a:pt x="47625" y="285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6" name="任意多边形: 形状 9825"/>
            <p:cNvSpPr/>
            <p:nvPr/>
          </p:nvSpPr>
          <p:spPr>
            <a:xfrm>
              <a:off x="8625840" y="4491355"/>
              <a:ext cx="50800" cy="127000"/>
            </a:xfrm>
            <a:custGeom>
              <a:avLst/>
              <a:gdLst>
                <a:gd name="connsiteX0" fmla="*/ 5715 w 50800"/>
                <a:gd name="connsiteY0" fmla="*/ 3175 h 127000"/>
                <a:gd name="connsiteX1" fmla="*/ 3175 w 50800"/>
                <a:gd name="connsiteY1" fmla="*/ 104140 h 127000"/>
                <a:gd name="connsiteX2" fmla="*/ 46355 w 50800"/>
                <a:gd name="connsiteY2" fmla="*/ 128270 h 127000"/>
                <a:gd name="connsiteX3" fmla="*/ 47625 w 50800"/>
                <a:gd name="connsiteY3" fmla="*/ 28575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27000">
                  <a:moveTo>
                    <a:pt x="5715" y="3175"/>
                  </a:moveTo>
                  <a:lnTo>
                    <a:pt x="3175" y="104140"/>
                  </a:lnTo>
                  <a:lnTo>
                    <a:pt x="46355" y="128270"/>
                  </a:lnTo>
                  <a:lnTo>
                    <a:pt x="47625" y="285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7" name="任意多边形: 形状 9826"/>
            <p:cNvSpPr/>
            <p:nvPr/>
          </p:nvSpPr>
          <p:spPr>
            <a:xfrm>
              <a:off x="8724900" y="4549140"/>
              <a:ext cx="44450" cy="127000"/>
            </a:xfrm>
            <a:custGeom>
              <a:avLst/>
              <a:gdLst>
                <a:gd name="connsiteX0" fmla="*/ 3175 w 44450"/>
                <a:gd name="connsiteY0" fmla="*/ 3175 h 127000"/>
                <a:gd name="connsiteX1" fmla="*/ 3175 w 44450"/>
                <a:gd name="connsiteY1" fmla="*/ 102870 h 127000"/>
                <a:gd name="connsiteX2" fmla="*/ 46355 w 44450"/>
                <a:gd name="connsiteY2" fmla="*/ 127000 h 127000"/>
                <a:gd name="connsiteX3" fmla="*/ 46990 w 44450"/>
                <a:gd name="connsiteY3" fmla="*/ 26670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127000">
                  <a:moveTo>
                    <a:pt x="3175" y="3175"/>
                  </a:moveTo>
                  <a:lnTo>
                    <a:pt x="3175" y="102870"/>
                  </a:lnTo>
                  <a:lnTo>
                    <a:pt x="46355" y="127000"/>
                  </a:lnTo>
                  <a:lnTo>
                    <a:pt x="46990" y="2667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8" name="任意多边形: 形状 9827"/>
            <p:cNvSpPr/>
            <p:nvPr/>
          </p:nvSpPr>
          <p:spPr>
            <a:xfrm>
              <a:off x="9317990" y="4184015"/>
              <a:ext cx="342900" cy="361950"/>
            </a:xfrm>
            <a:custGeom>
              <a:avLst/>
              <a:gdLst>
                <a:gd name="connsiteX0" fmla="*/ 3175 w 342900"/>
                <a:gd name="connsiteY0" fmla="*/ 31750 h 361950"/>
                <a:gd name="connsiteX1" fmla="*/ 297815 w 342900"/>
                <a:gd name="connsiteY1" fmla="*/ 363855 h 361950"/>
                <a:gd name="connsiteX2" fmla="*/ 344170 w 342900"/>
                <a:gd name="connsiteY2" fmla="*/ 337820 h 361950"/>
                <a:gd name="connsiteX3" fmla="*/ 52070 w 342900"/>
                <a:gd name="connsiteY3" fmla="*/ 3175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" h="361950">
                  <a:moveTo>
                    <a:pt x="3175" y="31750"/>
                  </a:moveTo>
                  <a:lnTo>
                    <a:pt x="297815" y="363855"/>
                  </a:lnTo>
                  <a:lnTo>
                    <a:pt x="344170" y="337820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9" name="任意多边形: 形状 9828"/>
            <p:cNvSpPr/>
            <p:nvPr/>
          </p:nvSpPr>
          <p:spPr>
            <a:xfrm>
              <a:off x="9428480" y="4119880"/>
              <a:ext cx="342900" cy="361950"/>
            </a:xfrm>
            <a:custGeom>
              <a:avLst/>
              <a:gdLst>
                <a:gd name="connsiteX0" fmla="*/ 3175 w 342900"/>
                <a:gd name="connsiteY0" fmla="*/ 31115 h 361950"/>
                <a:gd name="connsiteX1" fmla="*/ 298450 w 342900"/>
                <a:gd name="connsiteY1" fmla="*/ 363220 h 361950"/>
                <a:gd name="connsiteX2" fmla="*/ 344170 w 342900"/>
                <a:gd name="connsiteY2" fmla="*/ 337185 h 361950"/>
                <a:gd name="connsiteX3" fmla="*/ 52070 w 342900"/>
                <a:gd name="connsiteY3" fmla="*/ 3175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" h="361950">
                  <a:moveTo>
                    <a:pt x="3175" y="31115"/>
                  </a:moveTo>
                  <a:lnTo>
                    <a:pt x="298450" y="363220"/>
                  </a:lnTo>
                  <a:lnTo>
                    <a:pt x="344170" y="337185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0" name="任意多边形: 形状 9829"/>
            <p:cNvSpPr/>
            <p:nvPr/>
          </p:nvSpPr>
          <p:spPr>
            <a:xfrm>
              <a:off x="9547860" y="4049395"/>
              <a:ext cx="342900" cy="361950"/>
            </a:xfrm>
            <a:custGeom>
              <a:avLst/>
              <a:gdLst>
                <a:gd name="connsiteX0" fmla="*/ 3175 w 342900"/>
                <a:gd name="connsiteY0" fmla="*/ 31115 h 361950"/>
                <a:gd name="connsiteX1" fmla="*/ 297815 w 342900"/>
                <a:gd name="connsiteY1" fmla="*/ 363220 h 361950"/>
                <a:gd name="connsiteX2" fmla="*/ 344170 w 342900"/>
                <a:gd name="connsiteY2" fmla="*/ 337185 h 361950"/>
                <a:gd name="connsiteX3" fmla="*/ 52070 w 342900"/>
                <a:gd name="connsiteY3" fmla="*/ 3175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" h="361950">
                  <a:moveTo>
                    <a:pt x="3175" y="31115"/>
                  </a:moveTo>
                  <a:lnTo>
                    <a:pt x="297815" y="363220"/>
                  </a:lnTo>
                  <a:lnTo>
                    <a:pt x="344170" y="337185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1" name="任意多边形: 形状 9830"/>
            <p:cNvSpPr/>
            <p:nvPr/>
          </p:nvSpPr>
          <p:spPr>
            <a:xfrm>
              <a:off x="9655810" y="3987165"/>
              <a:ext cx="342900" cy="361950"/>
            </a:xfrm>
            <a:custGeom>
              <a:avLst/>
              <a:gdLst>
                <a:gd name="connsiteX0" fmla="*/ 3175 w 342900"/>
                <a:gd name="connsiteY0" fmla="*/ 31750 h 361950"/>
                <a:gd name="connsiteX1" fmla="*/ 298450 w 342900"/>
                <a:gd name="connsiteY1" fmla="*/ 363855 h 361950"/>
                <a:gd name="connsiteX2" fmla="*/ 344170 w 342900"/>
                <a:gd name="connsiteY2" fmla="*/ 337820 h 361950"/>
                <a:gd name="connsiteX3" fmla="*/ 52070 w 342900"/>
                <a:gd name="connsiteY3" fmla="*/ 3175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" h="361950">
                  <a:moveTo>
                    <a:pt x="3175" y="31750"/>
                  </a:moveTo>
                  <a:lnTo>
                    <a:pt x="298450" y="363855"/>
                  </a:lnTo>
                  <a:lnTo>
                    <a:pt x="344170" y="337820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2" name="任意多边形: 形状 9831"/>
            <p:cNvSpPr/>
            <p:nvPr/>
          </p:nvSpPr>
          <p:spPr>
            <a:xfrm>
              <a:off x="9759950" y="3931920"/>
              <a:ext cx="342900" cy="361950"/>
            </a:xfrm>
            <a:custGeom>
              <a:avLst/>
              <a:gdLst>
                <a:gd name="connsiteX0" fmla="*/ 3175 w 342900"/>
                <a:gd name="connsiteY0" fmla="*/ 31750 h 361950"/>
                <a:gd name="connsiteX1" fmla="*/ 297815 w 342900"/>
                <a:gd name="connsiteY1" fmla="*/ 363855 h 361950"/>
                <a:gd name="connsiteX2" fmla="*/ 344170 w 342900"/>
                <a:gd name="connsiteY2" fmla="*/ 337185 h 361950"/>
                <a:gd name="connsiteX3" fmla="*/ 52070 w 342900"/>
                <a:gd name="connsiteY3" fmla="*/ 3175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" h="361950">
                  <a:moveTo>
                    <a:pt x="3175" y="31750"/>
                  </a:moveTo>
                  <a:lnTo>
                    <a:pt x="297815" y="363855"/>
                  </a:lnTo>
                  <a:lnTo>
                    <a:pt x="344170" y="337185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3" name="任意多边形: 形状 9832"/>
            <p:cNvSpPr/>
            <p:nvPr/>
          </p:nvSpPr>
          <p:spPr>
            <a:xfrm>
              <a:off x="9858375" y="3869055"/>
              <a:ext cx="349250" cy="368300"/>
            </a:xfrm>
            <a:custGeom>
              <a:avLst/>
              <a:gdLst>
                <a:gd name="connsiteX0" fmla="*/ 3175 w 349250"/>
                <a:gd name="connsiteY0" fmla="*/ 31750 h 368300"/>
                <a:gd name="connsiteX1" fmla="*/ 302895 w 349250"/>
                <a:gd name="connsiteY1" fmla="*/ 368935 h 368300"/>
                <a:gd name="connsiteX2" fmla="*/ 349250 w 349250"/>
                <a:gd name="connsiteY2" fmla="*/ 342900 h 368300"/>
                <a:gd name="connsiteX3" fmla="*/ 52070 w 349250"/>
                <a:gd name="connsiteY3" fmla="*/ 3175 h 36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9250" h="368300">
                  <a:moveTo>
                    <a:pt x="3175" y="31750"/>
                  </a:moveTo>
                  <a:lnTo>
                    <a:pt x="302895" y="368935"/>
                  </a:lnTo>
                  <a:lnTo>
                    <a:pt x="349250" y="342900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4" name="任意多边形: 形状 9833"/>
            <p:cNvSpPr/>
            <p:nvPr/>
          </p:nvSpPr>
          <p:spPr>
            <a:xfrm>
              <a:off x="9947910" y="3825875"/>
              <a:ext cx="342900" cy="361950"/>
            </a:xfrm>
            <a:custGeom>
              <a:avLst/>
              <a:gdLst>
                <a:gd name="connsiteX0" fmla="*/ 3175 w 342900"/>
                <a:gd name="connsiteY0" fmla="*/ 31115 h 361950"/>
                <a:gd name="connsiteX1" fmla="*/ 297815 w 342900"/>
                <a:gd name="connsiteY1" fmla="*/ 363220 h 361950"/>
                <a:gd name="connsiteX2" fmla="*/ 344170 w 342900"/>
                <a:gd name="connsiteY2" fmla="*/ 337185 h 361950"/>
                <a:gd name="connsiteX3" fmla="*/ 52070 w 342900"/>
                <a:gd name="connsiteY3" fmla="*/ 3175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" h="361950">
                  <a:moveTo>
                    <a:pt x="3175" y="31115"/>
                  </a:moveTo>
                  <a:lnTo>
                    <a:pt x="297815" y="363220"/>
                  </a:lnTo>
                  <a:lnTo>
                    <a:pt x="344170" y="337185"/>
                  </a:lnTo>
                  <a:lnTo>
                    <a:pt x="52070" y="317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5" name="任意多边形: 形状 9834"/>
            <p:cNvSpPr/>
            <p:nvPr/>
          </p:nvSpPr>
          <p:spPr>
            <a:xfrm>
              <a:off x="10156825" y="4208780"/>
              <a:ext cx="50800" cy="133350"/>
            </a:xfrm>
            <a:custGeom>
              <a:avLst/>
              <a:gdLst>
                <a:gd name="connsiteX0" fmla="*/ 50800 w 50800"/>
                <a:gd name="connsiteY0" fmla="*/ 3175 h 133350"/>
                <a:gd name="connsiteX1" fmla="*/ 50800 w 50800"/>
                <a:gd name="connsiteY1" fmla="*/ 107950 h 133350"/>
                <a:gd name="connsiteX2" fmla="*/ 3175 w 50800"/>
                <a:gd name="connsiteY2" fmla="*/ 135255 h 133350"/>
                <a:gd name="connsiteX3" fmla="*/ 3175 w 50800"/>
                <a:gd name="connsiteY3" fmla="*/ 3048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50800" y="3175"/>
                  </a:moveTo>
                  <a:lnTo>
                    <a:pt x="50800" y="107950"/>
                  </a:lnTo>
                  <a:lnTo>
                    <a:pt x="3175" y="135255"/>
                  </a:lnTo>
                  <a:lnTo>
                    <a:pt x="317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6" name="任意多边形: 形状 9835"/>
            <p:cNvSpPr/>
            <p:nvPr/>
          </p:nvSpPr>
          <p:spPr>
            <a:xfrm>
              <a:off x="10243185" y="4159885"/>
              <a:ext cx="50800" cy="133350"/>
            </a:xfrm>
            <a:custGeom>
              <a:avLst/>
              <a:gdLst>
                <a:gd name="connsiteX0" fmla="*/ 48895 w 50800"/>
                <a:gd name="connsiteY0" fmla="*/ 3175 h 133350"/>
                <a:gd name="connsiteX1" fmla="*/ 48895 w 50800"/>
                <a:gd name="connsiteY1" fmla="*/ 111125 h 133350"/>
                <a:gd name="connsiteX2" fmla="*/ 3175 w 50800"/>
                <a:gd name="connsiteY2" fmla="*/ 135890 h 133350"/>
                <a:gd name="connsiteX3" fmla="*/ 3175 w 50800"/>
                <a:gd name="connsiteY3" fmla="*/ 2794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48895" y="3175"/>
                  </a:moveTo>
                  <a:lnTo>
                    <a:pt x="48895" y="111125"/>
                  </a:lnTo>
                  <a:lnTo>
                    <a:pt x="3175" y="135890"/>
                  </a:lnTo>
                  <a:lnTo>
                    <a:pt x="3175" y="2794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7" name="任意多边形: 形状 9836"/>
            <p:cNvSpPr/>
            <p:nvPr/>
          </p:nvSpPr>
          <p:spPr>
            <a:xfrm>
              <a:off x="10055225" y="4266565"/>
              <a:ext cx="50800" cy="133350"/>
            </a:xfrm>
            <a:custGeom>
              <a:avLst/>
              <a:gdLst>
                <a:gd name="connsiteX0" fmla="*/ 50800 w 50800"/>
                <a:gd name="connsiteY0" fmla="*/ 3175 h 133350"/>
                <a:gd name="connsiteX1" fmla="*/ 50800 w 50800"/>
                <a:gd name="connsiteY1" fmla="*/ 107950 h 133350"/>
                <a:gd name="connsiteX2" fmla="*/ 3175 w 50800"/>
                <a:gd name="connsiteY2" fmla="*/ 135255 h 133350"/>
                <a:gd name="connsiteX3" fmla="*/ 3175 w 50800"/>
                <a:gd name="connsiteY3" fmla="*/ 3048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50800" y="3175"/>
                  </a:moveTo>
                  <a:lnTo>
                    <a:pt x="50800" y="107950"/>
                  </a:lnTo>
                  <a:lnTo>
                    <a:pt x="3175" y="135255"/>
                  </a:lnTo>
                  <a:lnTo>
                    <a:pt x="317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8" name="任意多边形: 形状 9837"/>
            <p:cNvSpPr/>
            <p:nvPr/>
          </p:nvSpPr>
          <p:spPr>
            <a:xfrm>
              <a:off x="9951720" y="4321810"/>
              <a:ext cx="50800" cy="133350"/>
            </a:xfrm>
            <a:custGeom>
              <a:avLst/>
              <a:gdLst>
                <a:gd name="connsiteX0" fmla="*/ 50165 w 50800"/>
                <a:gd name="connsiteY0" fmla="*/ 3175 h 133350"/>
                <a:gd name="connsiteX1" fmla="*/ 50165 w 50800"/>
                <a:gd name="connsiteY1" fmla="*/ 107950 h 133350"/>
                <a:gd name="connsiteX2" fmla="*/ 3175 w 50800"/>
                <a:gd name="connsiteY2" fmla="*/ 135890 h 133350"/>
                <a:gd name="connsiteX3" fmla="*/ 3175 w 50800"/>
                <a:gd name="connsiteY3" fmla="*/ 3111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50165" y="3175"/>
                  </a:moveTo>
                  <a:lnTo>
                    <a:pt x="50165" y="107950"/>
                  </a:lnTo>
                  <a:lnTo>
                    <a:pt x="3175" y="135890"/>
                  </a:lnTo>
                  <a:lnTo>
                    <a:pt x="3175" y="3111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9" name="任意多边形: 形状 9838"/>
            <p:cNvSpPr/>
            <p:nvPr/>
          </p:nvSpPr>
          <p:spPr>
            <a:xfrm>
              <a:off x="9843135" y="4383405"/>
              <a:ext cx="50800" cy="133350"/>
            </a:xfrm>
            <a:custGeom>
              <a:avLst/>
              <a:gdLst>
                <a:gd name="connsiteX0" fmla="*/ 50165 w 50800"/>
                <a:gd name="connsiteY0" fmla="*/ 3175 h 133350"/>
                <a:gd name="connsiteX1" fmla="*/ 50165 w 50800"/>
                <a:gd name="connsiteY1" fmla="*/ 107950 h 133350"/>
                <a:gd name="connsiteX2" fmla="*/ 3175 w 50800"/>
                <a:gd name="connsiteY2" fmla="*/ 135255 h 133350"/>
                <a:gd name="connsiteX3" fmla="*/ 3175 w 50800"/>
                <a:gd name="connsiteY3" fmla="*/ 3048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50165" y="3175"/>
                  </a:moveTo>
                  <a:lnTo>
                    <a:pt x="50165" y="107950"/>
                  </a:lnTo>
                  <a:lnTo>
                    <a:pt x="3175" y="135255"/>
                  </a:lnTo>
                  <a:lnTo>
                    <a:pt x="3175" y="30480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0" name="任意多边形: 形状 9839"/>
            <p:cNvSpPr/>
            <p:nvPr/>
          </p:nvSpPr>
          <p:spPr>
            <a:xfrm>
              <a:off x="9722485" y="4454525"/>
              <a:ext cx="50800" cy="133350"/>
            </a:xfrm>
            <a:custGeom>
              <a:avLst/>
              <a:gdLst>
                <a:gd name="connsiteX0" fmla="*/ 50165 w 50800"/>
                <a:gd name="connsiteY0" fmla="*/ 3175 h 133350"/>
                <a:gd name="connsiteX1" fmla="*/ 50165 w 50800"/>
                <a:gd name="connsiteY1" fmla="*/ 107950 h 133350"/>
                <a:gd name="connsiteX2" fmla="*/ 3175 w 50800"/>
                <a:gd name="connsiteY2" fmla="*/ 135890 h 133350"/>
                <a:gd name="connsiteX3" fmla="*/ 3175 w 50800"/>
                <a:gd name="connsiteY3" fmla="*/ 3111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50165" y="3175"/>
                  </a:moveTo>
                  <a:lnTo>
                    <a:pt x="50165" y="107950"/>
                  </a:lnTo>
                  <a:lnTo>
                    <a:pt x="3175" y="135890"/>
                  </a:lnTo>
                  <a:lnTo>
                    <a:pt x="3175" y="3111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1" name="任意多边形: 形状 9840"/>
            <p:cNvSpPr/>
            <p:nvPr/>
          </p:nvSpPr>
          <p:spPr>
            <a:xfrm>
              <a:off x="9614535" y="4519295"/>
              <a:ext cx="50800" cy="133350"/>
            </a:xfrm>
            <a:custGeom>
              <a:avLst/>
              <a:gdLst>
                <a:gd name="connsiteX0" fmla="*/ 50165 w 50800"/>
                <a:gd name="connsiteY0" fmla="*/ 3175 h 133350"/>
                <a:gd name="connsiteX1" fmla="*/ 50165 w 50800"/>
                <a:gd name="connsiteY1" fmla="*/ 107950 h 133350"/>
                <a:gd name="connsiteX2" fmla="*/ 3175 w 50800"/>
                <a:gd name="connsiteY2" fmla="*/ 135890 h 133350"/>
                <a:gd name="connsiteX3" fmla="*/ 3175 w 50800"/>
                <a:gd name="connsiteY3" fmla="*/ 3111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3350">
                  <a:moveTo>
                    <a:pt x="50165" y="3175"/>
                  </a:moveTo>
                  <a:lnTo>
                    <a:pt x="50165" y="107950"/>
                  </a:lnTo>
                  <a:lnTo>
                    <a:pt x="3175" y="135890"/>
                  </a:lnTo>
                  <a:lnTo>
                    <a:pt x="3175" y="31115"/>
                  </a:ln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2" name="任意多边形: 形状 9841"/>
            <p:cNvSpPr/>
            <p:nvPr/>
          </p:nvSpPr>
          <p:spPr>
            <a:xfrm>
              <a:off x="7938770" y="2616835"/>
              <a:ext cx="1238250" cy="914400"/>
            </a:xfrm>
            <a:custGeom>
              <a:avLst/>
              <a:gdLst>
                <a:gd name="connsiteX0" fmla="*/ 3175 w 1238250"/>
                <a:gd name="connsiteY0" fmla="*/ 205740 h 914400"/>
                <a:gd name="connsiteX1" fmla="*/ 3175 w 1238250"/>
                <a:gd name="connsiteY1" fmla="*/ 3175 h 914400"/>
                <a:gd name="connsiteX2" fmla="*/ 1236980 w 1238250"/>
                <a:gd name="connsiteY2" fmla="*/ 715010 h 914400"/>
                <a:gd name="connsiteX3" fmla="*/ 1236980 w 1238250"/>
                <a:gd name="connsiteY3" fmla="*/ 917575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914400">
                  <a:moveTo>
                    <a:pt x="3175" y="205740"/>
                  </a:moveTo>
                  <a:lnTo>
                    <a:pt x="3175" y="3175"/>
                  </a:lnTo>
                  <a:lnTo>
                    <a:pt x="1236980" y="715010"/>
                  </a:lnTo>
                  <a:lnTo>
                    <a:pt x="1236980" y="917575"/>
                  </a:lnTo>
                  <a:close/>
                </a:path>
              </a:pathLst>
            </a:custGeom>
            <a:solidFill>
              <a:srgbClr val="7E9AF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3" name="任意多边形: 形状 9842"/>
            <p:cNvSpPr/>
            <p:nvPr/>
          </p:nvSpPr>
          <p:spPr>
            <a:xfrm>
              <a:off x="9172575" y="2768600"/>
              <a:ext cx="971550" cy="768350"/>
            </a:xfrm>
            <a:custGeom>
              <a:avLst/>
              <a:gdLst>
                <a:gd name="connsiteX0" fmla="*/ 3175 w 971550"/>
                <a:gd name="connsiteY0" fmla="*/ 765810 h 768350"/>
                <a:gd name="connsiteX1" fmla="*/ 3175 w 971550"/>
                <a:gd name="connsiteY1" fmla="*/ 563245 h 768350"/>
                <a:gd name="connsiteX2" fmla="*/ 970280 w 971550"/>
                <a:gd name="connsiteY2" fmla="*/ 3175 h 768350"/>
                <a:gd name="connsiteX3" fmla="*/ 970280 w 971550"/>
                <a:gd name="connsiteY3" fmla="*/ 202565 h 768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0" h="768350">
                  <a:moveTo>
                    <a:pt x="3175" y="765810"/>
                  </a:moveTo>
                  <a:lnTo>
                    <a:pt x="3175" y="563245"/>
                  </a:lnTo>
                  <a:lnTo>
                    <a:pt x="970280" y="3175"/>
                  </a:lnTo>
                  <a:lnTo>
                    <a:pt x="970280" y="202565"/>
                  </a:lnTo>
                  <a:close/>
                </a:path>
              </a:pathLst>
            </a:custGeom>
            <a:solidFill>
              <a:srgbClr val="7E9AF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4" name="任意多边形: 形状 9843"/>
            <p:cNvSpPr/>
            <p:nvPr/>
          </p:nvSpPr>
          <p:spPr>
            <a:xfrm>
              <a:off x="8907780" y="2006600"/>
              <a:ext cx="1238250" cy="914400"/>
            </a:xfrm>
            <a:custGeom>
              <a:avLst/>
              <a:gdLst>
                <a:gd name="connsiteX0" fmla="*/ 3175 w 1238250"/>
                <a:gd name="connsiteY0" fmla="*/ 206375 h 914400"/>
                <a:gd name="connsiteX1" fmla="*/ 3175 w 1238250"/>
                <a:gd name="connsiteY1" fmla="*/ 3175 h 914400"/>
                <a:gd name="connsiteX2" fmla="*/ 1235075 w 1238250"/>
                <a:gd name="connsiteY2" fmla="*/ 715645 h 914400"/>
                <a:gd name="connsiteX3" fmla="*/ 1235075 w 1238250"/>
                <a:gd name="connsiteY3" fmla="*/ 915035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914400">
                  <a:moveTo>
                    <a:pt x="3175" y="206375"/>
                  </a:moveTo>
                  <a:lnTo>
                    <a:pt x="3175" y="3175"/>
                  </a:lnTo>
                  <a:lnTo>
                    <a:pt x="1235075" y="715645"/>
                  </a:lnTo>
                  <a:lnTo>
                    <a:pt x="1235075" y="915035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5" name="任意多边形: 形状 9844"/>
            <p:cNvSpPr/>
            <p:nvPr/>
          </p:nvSpPr>
          <p:spPr>
            <a:xfrm>
              <a:off x="7938770" y="2567305"/>
              <a:ext cx="1238250" cy="920750"/>
            </a:xfrm>
            <a:custGeom>
              <a:avLst/>
              <a:gdLst>
                <a:gd name="connsiteX0" fmla="*/ 3175 w 1238250"/>
                <a:gd name="connsiteY0" fmla="*/ 205105 h 920750"/>
                <a:gd name="connsiteX1" fmla="*/ 3175 w 1238250"/>
                <a:gd name="connsiteY1" fmla="*/ 3175 h 920750"/>
                <a:gd name="connsiteX2" fmla="*/ 1236980 w 1238250"/>
                <a:gd name="connsiteY2" fmla="*/ 715010 h 920750"/>
                <a:gd name="connsiteX3" fmla="*/ 1236980 w 1238250"/>
                <a:gd name="connsiteY3" fmla="*/ 917575 h 9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920750">
                  <a:moveTo>
                    <a:pt x="3175" y="205105"/>
                  </a:moveTo>
                  <a:lnTo>
                    <a:pt x="3175" y="3175"/>
                  </a:lnTo>
                  <a:lnTo>
                    <a:pt x="1236980" y="715010"/>
                  </a:lnTo>
                  <a:lnTo>
                    <a:pt x="1236980" y="91757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6" name="任意多边形: 形状 9845"/>
            <p:cNvSpPr/>
            <p:nvPr/>
          </p:nvSpPr>
          <p:spPr>
            <a:xfrm>
              <a:off x="9172575" y="2719070"/>
              <a:ext cx="971550" cy="768350"/>
            </a:xfrm>
            <a:custGeom>
              <a:avLst/>
              <a:gdLst>
                <a:gd name="connsiteX0" fmla="*/ 3175 w 971550"/>
                <a:gd name="connsiteY0" fmla="*/ 765810 h 768350"/>
                <a:gd name="connsiteX1" fmla="*/ 3175 w 971550"/>
                <a:gd name="connsiteY1" fmla="*/ 563245 h 768350"/>
                <a:gd name="connsiteX2" fmla="*/ 970280 w 971550"/>
                <a:gd name="connsiteY2" fmla="*/ 3175 h 768350"/>
                <a:gd name="connsiteX3" fmla="*/ 970280 w 971550"/>
                <a:gd name="connsiteY3" fmla="*/ 202565 h 768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0" h="768350">
                  <a:moveTo>
                    <a:pt x="3175" y="765810"/>
                  </a:moveTo>
                  <a:lnTo>
                    <a:pt x="3175" y="563245"/>
                  </a:lnTo>
                  <a:lnTo>
                    <a:pt x="970280" y="3175"/>
                  </a:lnTo>
                  <a:lnTo>
                    <a:pt x="970280" y="20256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7" name="任意多边形: 形状 9846"/>
            <p:cNvSpPr/>
            <p:nvPr/>
          </p:nvSpPr>
          <p:spPr>
            <a:xfrm>
              <a:off x="7938770" y="3380740"/>
              <a:ext cx="1238250" cy="819150"/>
            </a:xfrm>
            <a:custGeom>
              <a:avLst/>
              <a:gdLst>
                <a:gd name="connsiteX0" fmla="*/ 3175 w 1238250"/>
                <a:gd name="connsiteY0" fmla="*/ 3175 h 819150"/>
                <a:gd name="connsiteX1" fmla="*/ 3175 w 1238250"/>
                <a:gd name="connsiteY1" fmla="*/ 104140 h 819150"/>
                <a:gd name="connsiteX2" fmla="*/ 1236980 w 1238250"/>
                <a:gd name="connsiteY2" fmla="*/ 817245 h 819150"/>
                <a:gd name="connsiteX3" fmla="*/ 1236980 w 1238250"/>
                <a:gd name="connsiteY3" fmla="*/ 715645 h 819150"/>
                <a:gd name="connsiteX4" fmla="*/ 3175 w 1238250"/>
                <a:gd name="connsiteY4" fmla="*/ 63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0" h="819150">
                  <a:moveTo>
                    <a:pt x="3175" y="3175"/>
                  </a:moveTo>
                  <a:lnTo>
                    <a:pt x="3175" y="104140"/>
                  </a:lnTo>
                  <a:lnTo>
                    <a:pt x="1236980" y="817245"/>
                  </a:lnTo>
                  <a:lnTo>
                    <a:pt x="1236980" y="715645"/>
                  </a:lnTo>
                  <a:lnTo>
                    <a:pt x="3175" y="6350"/>
                  </a:lnTo>
                </a:path>
              </a:pathLst>
            </a:custGeom>
            <a:solidFill>
              <a:srgbClr val="7E9AF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8" name="任意多边形: 形状 9847"/>
            <p:cNvSpPr/>
            <p:nvPr/>
          </p:nvSpPr>
          <p:spPr>
            <a:xfrm>
              <a:off x="9172575" y="3536315"/>
              <a:ext cx="971550" cy="660400"/>
            </a:xfrm>
            <a:custGeom>
              <a:avLst/>
              <a:gdLst>
                <a:gd name="connsiteX0" fmla="*/ 3175 w 971550"/>
                <a:gd name="connsiteY0" fmla="*/ 661670 h 660400"/>
                <a:gd name="connsiteX1" fmla="*/ 3175 w 971550"/>
                <a:gd name="connsiteY1" fmla="*/ 564515 h 660400"/>
                <a:gd name="connsiteX2" fmla="*/ 9525 w 971550"/>
                <a:gd name="connsiteY2" fmla="*/ 561340 h 660400"/>
                <a:gd name="connsiteX3" fmla="*/ 970280 w 971550"/>
                <a:gd name="connsiteY3" fmla="*/ 3175 h 660400"/>
                <a:gd name="connsiteX4" fmla="*/ 970280 w 971550"/>
                <a:gd name="connsiteY4" fmla="*/ 103505 h 66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1550" h="660400">
                  <a:moveTo>
                    <a:pt x="3175" y="661670"/>
                  </a:moveTo>
                  <a:lnTo>
                    <a:pt x="3175" y="564515"/>
                  </a:lnTo>
                  <a:lnTo>
                    <a:pt x="9525" y="561340"/>
                  </a:lnTo>
                  <a:lnTo>
                    <a:pt x="970280" y="3175"/>
                  </a:lnTo>
                  <a:lnTo>
                    <a:pt x="970280" y="103505"/>
                  </a:lnTo>
                  <a:close/>
                </a:path>
              </a:pathLst>
            </a:custGeom>
            <a:solidFill>
              <a:srgbClr val="7E9AF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9" name="任意多边形: 形状 9848"/>
            <p:cNvSpPr/>
            <p:nvPr/>
          </p:nvSpPr>
          <p:spPr>
            <a:xfrm>
              <a:off x="8907780" y="2618105"/>
              <a:ext cx="971550" cy="565150"/>
            </a:xfrm>
            <a:custGeom>
              <a:avLst/>
              <a:gdLst>
                <a:gd name="connsiteX0" fmla="*/ 532130 w 971550"/>
                <a:gd name="connsiteY0" fmla="*/ 3175 h 565150"/>
                <a:gd name="connsiteX1" fmla="*/ 3175 w 971550"/>
                <a:gd name="connsiteY1" fmla="*/ 308610 h 565150"/>
                <a:gd name="connsiteX2" fmla="*/ 443864 w 971550"/>
                <a:gd name="connsiteY2" fmla="*/ 561975 h 565150"/>
                <a:gd name="connsiteX3" fmla="*/ 971550 w 971550"/>
                <a:gd name="connsiteY3" fmla="*/ 256540 h 56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0" h="565150">
                  <a:moveTo>
                    <a:pt x="532130" y="3175"/>
                  </a:moveTo>
                  <a:lnTo>
                    <a:pt x="3175" y="308610"/>
                  </a:lnTo>
                  <a:lnTo>
                    <a:pt x="443864" y="561975"/>
                  </a:lnTo>
                  <a:lnTo>
                    <a:pt x="971550" y="25654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0" name="任意多边形: 形状 9849"/>
            <p:cNvSpPr/>
            <p:nvPr/>
          </p:nvSpPr>
          <p:spPr>
            <a:xfrm>
              <a:off x="9436735" y="2618105"/>
              <a:ext cx="444500" cy="304800"/>
            </a:xfrm>
            <a:custGeom>
              <a:avLst/>
              <a:gdLst>
                <a:gd name="connsiteX0" fmla="*/ 3175 w 444500"/>
                <a:gd name="connsiteY0" fmla="*/ 3175 h 304800"/>
                <a:gd name="connsiteX1" fmla="*/ 5080 w 444500"/>
                <a:gd name="connsiteY1" fmla="*/ 104140 h 304800"/>
                <a:gd name="connsiteX2" fmla="*/ 347345 w 444500"/>
                <a:gd name="connsiteY2" fmla="*/ 303530 h 304800"/>
                <a:gd name="connsiteX3" fmla="*/ 442595 w 444500"/>
                <a:gd name="connsiteY3" fmla="*/ 25654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0" h="304800">
                  <a:moveTo>
                    <a:pt x="3175" y="3175"/>
                  </a:moveTo>
                  <a:lnTo>
                    <a:pt x="5080" y="104140"/>
                  </a:lnTo>
                  <a:lnTo>
                    <a:pt x="347345" y="303530"/>
                  </a:lnTo>
                  <a:lnTo>
                    <a:pt x="442595" y="256540"/>
                  </a:lnTo>
                  <a:close/>
                </a:path>
              </a:pathLst>
            </a:custGeom>
            <a:solidFill>
              <a:srgbClr val="E4F0F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1" name="任意多边形: 形状 9850"/>
            <p:cNvSpPr/>
            <p:nvPr/>
          </p:nvSpPr>
          <p:spPr>
            <a:xfrm>
              <a:off x="9348470" y="2719070"/>
              <a:ext cx="438150" cy="260350"/>
            </a:xfrm>
            <a:custGeom>
              <a:avLst/>
              <a:gdLst>
                <a:gd name="connsiteX0" fmla="*/ 93345 w 438150"/>
                <a:gd name="connsiteY0" fmla="*/ 3175 h 260350"/>
                <a:gd name="connsiteX1" fmla="*/ 3175 w 438150"/>
                <a:gd name="connsiteY1" fmla="*/ 52705 h 260350"/>
                <a:gd name="connsiteX2" fmla="*/ 353061 w 438150"/>
                <a:gd name="connsiteY2" fmla="*/ 262890 h 260350"/>
                <a:gd name="connsiteX3" fmla="*/ 435611 w 438150"/>
                <a:gd name="connsiteY3" fmla="*/ 202565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150" h="260350">
                  <a:moveTo>
                    <a:pt x="93345" y="3175"/>
                  </a:moveTo>
                  <a:lnTo>
                    <a:pt x="3175" y="52705"/>
                  </a:lnTo>
                  <a:lnTo>
                    <a:pt x="353061" y="262890"/>
                  </a:lnTo>
                  <a:lnTo>
                    <a:pt x="435611" y="202565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2" name="任意多边形: 形状 9851"/>
            <p:cNvSpPr/>
            <p:nvPr/>
          </p:nvSpPr>
          <p:spPr>
            <a:xfrm>
              <a:off x="9345930" y="2768600"/>
              <a:ext cx="355600" cy="260350"/>
            </a:xfrm>
            <a:custGeom>
              <a:avLst/>
              <a:gdLst>
                <a:gd name="connsiteX0" fmla="*/ 5714 w 355600"/>
                <a:gd name="connsiteY0" fmla="*/ 3175 h 260350"/>
                <a:gd name="connsiteX1" fmla="*/ 3175 w 355600"/>
                <a:gd name="connsiteY1" fmla="*/ 102235 h 260350"/>
                <a:gd name="connsiteX2" fmla="*/ 269239 w 355600"/>
                <a:gd name="connsiteY2" fmla="*/ 259080 h 260350"/>
                <a:gd name="connsiteX3" fmla="*/ 355600 w 355600"/>
                <a:gd name="connsiteY3" fmla="*/ 213360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5600" h="260350">
                  <a:moveTo>
                    <a:pt x="5714" y="3175"/>
                  </a:moveTo>
                  <a:lnTo>
                    <a:pt x="3175" y="102235"/>
                  </a:lnTo>
                  <a:lnTo>
                    <a:pt x="269239" y="259080"/>
                  </a:lnTo>
                  <a:lnTo>
                    <a:pt x="355600" y="21336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3" name="任意多边形: 形状 9852"/>
            <p:cNvSpPr/>
            <p:nvPr/>
          </p:nvSpPr>
          <p:spPr>
            <a:xfrm>
              <a:off x="9260205" y="2867660"/>
              <a:ext cx="355600" cy="209550"/>
            </a:xfrm>
            <a:custGeom>
              <a:avLst/>
              <a:gdLst>
                <a:gd name="connsiteX0" fmla="*/ 88900 w 355600"/>
                <a:gd name="connsiteY0" fmla="*/ 3175 h 209550"/>
                <a:gd name="connsiteX1" fmla="*/ 3175 w 355600"/>
                <a:gd name="connsiteY1" fmla="*/ 53975 h 209550"/>
                <a:gd name="connsiteX2" fmla="*/ 265430 w 355600"/>
                <a:gd name="connsiteY2" fmla="*/ 206375 h 209550"/>
                <a:gd name="connsiteX3" fmla="*/ 354964 w 355600"/>
                <a:gd name="connsiteY3" fmla="*/ 16002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5600" h="209550">
                  <a:moveTo>
                    <a:pt x="88900" y="3175"/>
                  </a:moveTo>
                  <a:lnTo>
                    <a:pt x="3175" y="53975"/>
                  </a:lnTo>
                  <a:lnTo>
                    <a:pt x="265430" y="206375"/>
                  </a:lnTo>
                  <a:lnTo>
                    <a:pt x="354964" y="160020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4" name="任意多边形: 形状 9853"/>
            <p:cNvSpPr/>
            <p:nvPr/>
          </p:nvSpPr>
          <p:spPr>
            <a:xfrm>
              <a:off x="9259570" y="2918460"/>
              <a:ext cx="266700" cy="209550"/>
            </a:xfrm>
            <a:custGeom>
              <a:avLst/>
              <a:gdLst>
                <a:gd name="connsiteX0" fmla="*/ 3811 w 266700"/>
                <a:gd name="connsiteY0" fmla="*/ 3175 h 209550"/>
                <a:gd name="connsiteX1" fmla="*/ 3175 w 266700"/>
                <a:gd name="connsiteY1" fmla="*/ 109220 h 209550"/>
                <a:gd name="connsiteX2" fmla="*/ 174625 w 266700"/>
                <a:gd name="connsiteY2" fmla="*/ 208280 h 209550"/>
                <a:gd name="connsiteX3" fmla="*/ 266065 w 266700"/>
                <a:gd name="connsiteY3" fmla="*/ 155575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209550">
                  <a:moveTo>
                    <a:pt x="3811" y="3175"/>
                  </a:moveTo>
                  <a:lnTo>
                    <a:pt x="3175" y="109220"/>
                  </a:lnTo>
                  <a:lnTo>
                    <a:pt x="174625" y="208280"/>
                  </a:lnTo>
                  <a:lnTo>
                    <a:pt x="266065" y="155575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5" name="任意多边形: 形状 9854"/>
            <p:cNvSpPr/>
            <p:nvPr/>
          </p:nvSpPr>
          <p:spPr>
            <a:xfrm>
              <a:off x="9195435" y="3024505"/>
              <a:ext cx="241300" cy="146050"/>
            </a:xfrm>
            <a:custGeom>
              <a:avLst/>
              <a:gdLst>
                <a:gd name="connsiteX0" fmla="*/ 67310 w 241300"/>
                <a:gd name="connsiteY0" fmla="*/ 3175 h 146050"/>
                <a:gd name="connsiteX1" fmla="*/ 3175 w 241300"/>
                <a:gd name="connsiteY1" fmla="*/ 38100 h 146050"/>
                <a:gd name="connsiteX2" fmla="*/ 177165 w 241300"/>
                <a:gd name="connsiteY2" fmla="*/ 143510 h 146050"/>
                <a:gd name="connsiteX3" fmla="*/ 238760 w 241300"/>
                <a:gd name="connsiteY3" fmla="*/ 102235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0" h="146050">
                  <a:moveTo>
                    <a:pt x="67310" y="3175"/>
                  </a:moveTo>
                  <a:lnTo>
                    <a:pt x="3175" y="38100"/>
                  </a:lnTo>
                  <a:lnTo>
                    <a:pt x="177165" y="143510"/>
                  </a:lnTo>
                  <a:lnTo>
                    <a:pt x="238760" y="102235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6" name="任意多边形: 形状 9855"/>
            <p:cNvSpPr/>
            <p:nvPr/>
          </p:nvSpPr>
          <p:spPr>
            <a:xfrm>
              <a:off x="9195435" y="3059430"/>
              <a:ext cx="177800" cy="120650"/>
            </a:xfrm>
            <a:custGeom>
              <a:avLst/>
              <a:gdLst>
                <a:gd name="connsiteX0" fmla="*/ 3175 w 177800"/>
                <a:gd name="connsiteY0" fmla="*/ 3175 h 120650"/>
                <a:gd name="connsiteX1" fmla="*/ 3175 w 177800"/>
                <a:gd name="connsiteY1" fmla="*/ 33020 h 120650"/>
                <a:gd name="connsiteX2" fmla="*/ 156210 w 177800"/>
                <a:gd name="connsiteY2" fmla="*/ 120650 h 120650"/>
                <a:gd name="connsiteX3" fmla="*/ 177165 w 177800"/>
                <a:gd name="connsiteY3" fmla="*/ 108585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800" h="120650">
                  <a:moveTo>
                    <a:pt x="3175" y="3175"/>
                  </a:moveTo>
                  <a:lnTo>
                    <a:pt x="3175" y="33020"/>
                  </a:lnTo>
                  <a:lnTo>
                    <a:pt x="156210" y="120650"/>
                  </a:lnTo>
                  <a:lnTo>
                    <a:pt x="177165" y="108585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7" name="任意多边形: 形状 9856"/>
            <p:cNvSpPr/>
            <p:nvPr/>
          </p:nvSpPr>
          <p:spPr>
            <a:xfrm>
              <a:off x="7726045" y="3721735"/>
              <a:ext cx="6350" cy="88900"/>
            </a:xfrm>
            <a:custGeom>
              <a:avLst/>
              <a:gdLst>
                <a:gd name="connsiteX0" fmla="*/ 3175 w 6350"/>
                <a:gd name="connsiteY0" fmla="*/ 3175 h 88900"/>
                <a:gd name="connsiteX1" fmla="*/ 3175 w 6350"/>
                <a:gd name="connsiteY1" fmla="*/ 3175 h 88900"/>
                <a:gd name="connsiteX2" fmla="*/ 3175 w 6350"/>
                <a:gd name="connsiteY2" fmla="*/ 91440 h 88900"/>
                <a:gd name="connsiteX3" fmla="*/ 3175 w 6350"/>
                <a:gd name="connsiteY3" fmla="*/ 91440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" h="88900">
                  <a:moveTo>
                    <a:pt x="3175" y="3175"/>
                  </a:moveTo>
                  <a:lnTo>
                    <a:pt x="3175" y="3175"/>
                  </a:lnTo>
                  <a:lnTo>
                    <a:pt x="3175" y="91440"/>
                  </a:lnTo>
                  <a:lnTo>
                    <a:pt x="3175" y="91440"/>
                  </a:lnTo>
                  <a:close/>
                </a:path>
              </a:pathLst>
            </a:custGeom>
            <a:noFill/>
            <a:ln w="6350" cap="flat">
              <a:solidFill>
                <a:srgbClr val="5A69E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8" name="任意多边形: 形状 9857"/>
            <p:cNvSpPr/>
            <p:nvPr/>
          </p:nvSpPr>
          <p:spPr>
            <a:xfrm>
              <a:off x="7955597" y="3449406"/>
              <a:ext cx="95250" cy="120650"/>
            </a:xfrm>
            <a:custGeom>
              <a:avLst/>
              <a:gdLst>
                <a:gd name="connsiteX0" fmla="*/ 49847 w 95250"/>
                <a:gd name="connsiteY0" fmla="*/ 10710 h 120650"/>
                <a:gd name="connsiteX1" fmla="*/ 4763 w 95250"/>
                <a:gd name="connsiteY1" fmla="*/ 36744 h 120650"/>
                <a:gd name="connsiteX2" fmla="*/ 49847 w 95250"/>
                <a:gd name="connsiteY2" fmla="*/ 113579 h 120650"/>
                <a:gd name="connsiteX3" fmla="*/ 94933 w 95250"/>
                <a:gd name="connsiteY3" fmla="*/ 87544 h 120650"/>
                <a:gd name="connsiteX4" fmla="*/ 49847 w 95250"/>
                <a:gd name="connsiteY4" fmla="*/ 10710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20650">
                  <a:moveTo>
                    <a:pt x="49847" y="10710"/>
                  </a:moveTo>
                  <a:cubicBezTo>
                    <a:pt x="25083" y="-3261"/>
                    <a:pt x="4763" y="8169"/>
                    <a:pt x="4763" y="36744"/>
                  </a:cubicBezTo>
                  <a:cubicBezTo>
                    <a:pt x="4763" y="65319"/>
                    <a:pt x="25083" y="99610"/>
                    <a:pt x="49847" y="113579"/>
                  </a:cubicBezTo>
                  <a:cubicBezTo>
                    <a:pt x="74613" y="126914"/>
                    <a:pt x="94933" y="115485"/>
                    <a:pt x="94933" y="87544"/>
                  </a:cubicBezTo>
                  <a:cubicBezTo>
                    <a:pt x="94933" y="59604"/>
                    <a:pt x="74613" y="25314"/>
                    <a:pt x="49847" y="1071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9" name="任意多边形: 形状 9858"/>
            <p:cNvSpPr/>
            <p:nvPr/>
          </p:nvSpPr>
          <p:spPr>
            <a:xfrm>
              <a:off x="7294245" y="3732530"/>
              <a:ext cx="457200" cy="660400"/>
            </a:xfrm>
            <a:custGeom>
              <a:avLst/>
              <a:gdLst>
                <a:gd name="connsiteX0" fmla="*/ 3175 w 457200"/>
                <a:gd name="connsiteY0" fmla="*/ 254000 h 660400"/>
                <a:gd name="connsiteX1" fmla="*/ 448945 w 457200"/>
                <a:gd name="connsiteY1" fmla="*/ 3175 h 660400"/>
                <a:gd name="connsiteX2" fmla="*/ 454025 w 457200"/>
                <a:gd name="connsiteY2" fmla="*/ 407670 h 660400"/>
                <a:gd name="connsiteX3" fmla="*/ 10795 w 457200"/>
                <a:gd name="connsiteY3" fmla="*/ 662940 h 66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200" h="660400">
                  <a:moveTo>
                    <a:pt x="3175" y="254000"/>
                  </a:moveTo>
                  <a:lnTo>
                    <a:pt x="448945" y="3175"/>
                  </a:lnTo>
                  <a:lnTo>
                    <a:pt x="454025" y="407670"/>
                  </a:lnTo>
                  <a:lnTo>
                    <a:pt x="10795" y="662940"/>
                  </a:lnTo>
                  <a:close/>
                </a:path>
              </a:pathLst>
            </a:custGeom>
            <a:solidFill>
              <a:srgbClr val="EFDCC2"/>
            </a:solidFill>
            <a:ln w="6350" cap="rnd">
              <a:solidFill>
                <a:srgbClr val="3DA2B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0" name="任意多边形: 形状 9859"/>
            <p:cNvSpPr/>
            <p:nvPr/>
          </p:nvSpPr>
          <p:spPr>
            <a:xfrm>
              <a:off x="7317105" y="3738245"/>
              <a:ext cx="450850" cy="660400"/>
            </a:xfrm>
            <a:custGeom>
              <a:avLst/>
              <a:gdLst>
                <a:gd name="connsiteX0" fmla="*/ 3175 w 450850"/>
                <a:gd name="connsiteY0" fmla="*/ 254000 h 660400"/>
                <a:gd name="connsiteX1" fmla="*/ 448945 w 450850"/>
                <a:gd name="connsiteY1" fmla="*/ 3175 h 660400"/>
                <a:gd name="connsiteX2" fmla="*/ 453389 w 450850"/>
                <a:gd name="connsiteY2" fmla="*/ 407035 h 660400"/>
                <a:gd name="connsiteX3" fmla="*/ 10795 w 450850"/>
                <a:gd name="connsiteY3" fmla="*/ 662940 h 66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0850" h="660400">
                  <a:moveTo>
                    <a:pt x="3175" y="254000"/>
                  </a:moveTo>
                  <a:lnTo>
                    <a:pt x="448945" y="3175"/>
                  </a:lnTo>
                  <a:lnTo>
                    <a:pt x="453389" y="407035"/>
                  </a:lnTo>
                  <a:lnTo>
                    <a:pt x="10795" y="66294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1" name="任意多边形: 形状 9860"/>
            <p:cNvSpPr/>
            <p:nvPr/>
          </p:nvSpPr>
          <p:spPr>
            <a:xfrm>
              <a:off x="7355660" y="4017458"/>
              <a:ext cx="25400" cy="38100"/>
            </a:xfrm>
            <a:custGeom>
              <a:avLst/>
              <a:gdLst>
                <a:gd name="connsiteX0" fmla="*/ 15557 w 25400"/>
                <a:gd name="connsiteY0" fmla="*/ 6393 h 38100"/>
                <a:gd name="connsiteX1" fmla="*/ 4763 w 25400"/>
                <a:gd name="connsiteY1" fmla="*/ 25443 h 38100"/>
                <a:gd name="connsiteX2" fmla="*/ 15557 w 25400"/>
                <a:gd name="connsiteY2" fmla="*/ 31793 h 38100"/>
                <a:gd name="connsiteX3" fmla="*/ 26353 w 25400"/>
                <a:gd name="connsiteY3" fmla="*/ 12743 h 38100"/>
                <a:gd name="connsiteX4" fmla="*/ 15557 w 25400"/>
                <a:gd name="connsiteY4" fmla="*/ 639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38100">
                  <a:moveTo>
                    <a:pt x="15557" y="6393"/>
                  </a:moveTo>
                  <a:cubicBezTo>
                    <a:pt x="9207" y="10202"/>
                    <a:pt x="4763" y="18457"/>
                    <a:pt x="4763" y="25443"/>
                  </a:cubicBezTo>
                  <a:cubicBezTo>
                    <a:pt x="4763" y="32427"/>
                    <a:pt x="9843" y="35602"/>
                    <a:pt x="15557" y="31793"/>
                  </a:cubicBezTo>
                  <a:cubicBezTo>
                    <a:pt x="21907" y="27982"/>
                    <a:pt x="26353" y="19727"/>
                    <a:pt x="26353" y="12743"/>
                  </a:cubicBezTo>
                  <a:cubicBezTo>
                    <a:pt x="26353" y="5757"/>
                    <a:pt x="21272" y="2582"/>
                    <a:pt x="15557" y="6393"/>
                  </a:cubicBezTo>
                  <a:close/>
                </a:path>
              </a:pathLst>
            </a:custGeom>
            <a:solidFill>
              <a:srgbClr val="3F5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2" name="任意多边形: 形状 9861"/>
            <p:cNvSpPr/>
            <p:nvPr/>
          </p:nvSpPr>
          <p:spPr>
            <a:xfrm>
              <a:off x="7342814" y="4012884"/>
              <a:ext cx="45719" cy="45719"/>
            </a:xfrm>
            <a:custGeom>
              <a:avLst/>
              <a:gdLst>
                <a:gd name="connsiteX0" fmla="*/ 15557 w 25400"/>
                <a:gd name="connsiteY0" fmla="*/ 6393 h 38100"/>
                <a:gd name="connsiteX1" fmla="*/ 4763 w 25400"/>
                <a:gd name="connsiteY1" fmla="*/ 25443 h 38100"/>
                <a:gd name="connsiteX2" fmla="*/ 15557 w 25400"/>
                <a:gd name="connsiteY2" fmla="*/ 31793 h 38100"/>
                <a:gd name="connsiteX3" fmla="*/ 26353 w 25400"/>
                <a:gd name="connsiteY3" fmla="*/ 12743 h 38100"/>
                <a:gd name="connsiteX4" fmla="*/ 15557 w 25400"/>
                <a:gd name="connsiteY4" fmla="*/ 639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38100">
                  <a:moveTo>
                    <a:pt x="15557" y="6393"/>
                  </a:moveTo>
                  <a:cubicBezTo>
                    <a:pt x="9207" y="10202"/>
                    <a:pt x="4763" y="18457"/>
                    <a:pt x="4763" y="25443"/>
                  </a:cubicBezTo>
                  <a:cubicBezTo>
                    <a:pt x="4763" y="32427"/>
                    <a:pt x="9843" y="35602"/>
                    <a:pt x="15557" y="31793"/>
                  </a:cubicBezTo>
                  <a:cubicBezTo>
                    <a:pt x="21907" y="27982"/>
                    <a:pt x="26353" y="19727"/>
                    <a:pt x="26353" y="12743"/>
                  </a:cubicBezTo>
                  <a:cubicBezTo>
                    <a:pt x="26353" y="5757"/>
                    <a:pt x="21272" y="2582"/>
                    <a:pt x="15557" y="6393"/>
                  </a:cubicBezTo>
                  <a:close/>
                </a:path>
              </a:pathLst>
            </a:custGeom>
            <a:noFill/>
            <a:ln w="9525" cap="flat">
              <a:solidFill>
                <a:srgbClr val="3F55CE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3" name="任意多边形: 形状 9862"/>
            <p:cNvSpPr/>
            <p:nvPr/>
          </p:nvSpPr>
          <p:spPr>
            <a:xfrm>
              <a:off x="7269956" y="3937448"/>
              <a:ext cx="190183" cy="88900"/>
            </a:xfrm>
            <a:custGeom>
              <a:avLst/>
              <a:gdLst>
                <a:gd name="connsiteX0" fmla="*/ 3175 w 6350"/>
                <a:gd name="connsiteY0" fmla="*/ 3175 h 88900"/>
                <a:gd name="connsiteX1" fmla="*/ 3175 w 6350"/>
                <a:gd name="connsiteY1" fmla="*/ 3175 h 88900"/>
                <a:gd name="connsiteX2" fmla="*/ 3175 w 6350"/>
                <a:gd name="connsiteY2" fmla="*/ 91440 h 88900"/>
                <a:gd name="connsiteX3" fmla="*/ 3175 w 6350"/>
                <a:gd name="connsiteY3" fmla="*/ 91440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" h="88900">
                  <a:moveTo>
                    <a:pt x="3175" y="3175"/>
                  </a:moveTo>
                  <a:lnTo>
                    <a:pt x="3175" y="3175"/>
                  </a:lnTo>
                  <a:lnTo>
                    <a:pt x="3175" y="91440"/>
                  </a:lnTo>
                  <a:lnTo>
                    <a:pt x="3175" y="91440"/>
                  </a:lnTo>
                  <a:close/>
                </a:path>
              </a:pathLst>
            </a:custGeom>
            <a:noFill/>
            <a:ln w="6350" cap="flat">
              <a:solidFill>
                <a:srgbClr val="1430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4" name="任意多边形: 形状 9863"/>
            <p:cNvSpPr/>
            <p:nvPr/>
          </p:nvSpPr>
          <p:spPr>
            <a:xfrm>
              <a:off x="7463790" y="3638550"/>
              <a:ext cx="19050" cy="88900"/>
            </a:xfrm>
            <a:custGeom>
              <a:avLst/>
              <a:gdLst>
                <a:gd name="connsiteX0" fmla="*/ 3175 w 19050"/>
                <a:gd name="connsiteY0" fmla="*/ 90805 h 88900"/>
                <a:gd name="connsiteX1" fmla="*/ 3175 w 19050"/>
                <a:gd name="connsiteY1" fmla="*/ 90805 h 88900"/>
                <a:gd name="connsiteX2" fmla="*/ 16510 w 19050"/>
                <a:gd name="connsiteY2" fmla="*/ 3175 h 88900"/>
                <a:gd name="connsiteX3" fmla="*/ 16510 w 19050"/>
                <a:gd name="connsiteY3" fmla="*/ 3175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88900">
                  <a:moveTo>
                    <a:pt x="3175" y="90805"/>
                  </a:moveTo>
                  <a:lnTo>
                    <a:pt x="3175" y="90805"/>
                  </a:lnTo>
                  <a:lnTo>
                    <a:pt x="16510" y="3175"/>
                  </a:lnTo>
                  <a:lnTo>
                    <a:pt x="16510" y="3175"/>
                  </a:lnTo>
                  <a:close/>
                </a:path>
              </a:pathLst>
            </a:custGeom>
            <a:noFill/>
            <a:ln w="6350" cap="flat">
              <a:solidFill>
                <a:srgbClr val="5A69E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5" name="任意多边形: 形状 9864"/>
            <p:cNvSpPr/>
            <p:nvPr/>
          </p:nvSpPr>
          <p:spPr>
            <a:xfrm>
              <a:off x="7294245" y="3732530"/>
              <a:ext cx="469900" cy="666750"/>
            </a:xfrm>
            <a:custGeom>
              <a:avLst/>
              <a:gdLst>
                <a:gd name="connsiteX0" fmla="*/ 471805 w 469900"/>
                <a:gd name="connsiteY0" fmla="*/ 8890 h 666750"/>
                <a:gd name="connsiteX1" fmla="*/ 448945 w 469900"/>
                <a:gd name="connsiteY1" fmla="*/ 3175 h 666750"/>
                <a:gd name="connsiteX2" fmla="*/ 3175 w 469900"/>
                <a:gd name="connsiteY2" fmla="*/ 254000 h 666750"/>
                <a:gd name="connsiteX3" fmla="*/ 10795 w 469900"/>
                <a:gd name="connsiteY3" fmla="*/ 662940 h 666750"/>
                <a:gd name="connsiteX4" fmla="*/ 33655 w 469900"/>
                <a:gd name="connsiteY4" fmla="*/ 668655 h 666750"/>
                <a:gd name="connsiteX5" fmla="*/ 24765 w 469900"/>
                <a:gd name="connsiteY5" fmla="*/ 26162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9900" h="666750">
                  <a:moveTo>
                    <a:pt x="471805" y="8890"/>
                  </a:moveTo>
                  <a:lnTo>
                    <a:pt x="448945" y="3175"/>
                  </a:lnTo>
                  <a:lnTo>
                    <a:pt x="3175" y="254000"/>
                  </a:lnTo>
                  <a:lnTo>
                    <a:pt x="10795" y="662940"/>
                  </a:lnTo>
                  <a:lnTo>
                    <a:pt x="33655" y="668655"/>
                  </a:lnTo>
                  <a:lnTo>
                    <a:pt x="24765" y="261620"/>
                  </a:lnTo>
                  <a:close/>
                </a:path>
              </a:pathLst>
            </a:custGeom>
            <a:solidFill>
              <a:schemeClr val="accent5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6" name="任意多边形: 形状 9865"/>
            <p:cNvSpPr/>
            <p:nvPr/>
          </p:nvSpPr>
          <p:spPr>
            <a:xfrm>
              <a:off x="7367269" y="3941128"/>
              <a:ext cx="6350" cy="88900"/>
            </a:xfrm>
            <a:custGeom>
              <a:avLst/>
              <a:gdLst>
                <a:gd name="connsiteX0" fmla="*/ 3175 w 6350"/>
                <a:gd name="connsiteY0" fmla="*/ 3175 h 88900"/>
                <a:gd name="connsiteX1" fmla="*/ 3175 w 6350"/>
                <a:gd name="connsiteY1" fmla="*/ 3175 h 88900"/>
                <a:gd name="connsiteX2" fmla="*/ 3175 w 6350"/>
                <a:gd name="connsiteY2" fmla="*/ 91440 h 88900"/>
                <a:gd name="connsiteX3" fmla="*/ 3175 w 6350"/>
                <a:gd name="connsiteY3" fmla="*/ 91440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" h="88900">
                  <a:moveTo>
                    <a:pt x="3175" y="3175"/>
                  </a:moveTo>
                  <a:lnTo>
                    <a:pt x="3175" y="3175"/>
                  </a:lnTo>
                  <a:lnTo>
                    <a:pt x="3175" y="91440"/>
                  </a:lnTo>
                  <a:lnTo>
                    <a:pt x="3175" y="91440"/>
                  </a:lnTo>
                  <a:close/>
                </a:path>
              </a:pathLst>
            </a:custGeom>
            <a:noFill/>
            <a:ln w="6350" cap="flat">
              <a:solidFill>
                <a:srgbClr val="5A69E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7" name="任意多边形: 形状 9866"/>
            <p:cNvSpPr/>
            <p:nvPr/>
          </p:nvSpPr>
          <p:spPr>
            <a:xfrm>
              <a:off x="7713663" y="3802973"/>
              <a:ext cx="25400" cy="38100"/>
            </a:xfrm>
            <a:custGeom>
              <a:avLst/>
              <a:gdLst>
                <a:gd name="connsiteX0" fmla="*/ 15557 w 25400"/>
                <a:gd name="connsiteY0" fmla="*/ 6393 h 38100"/>
                <a:gd name="connsiteX1" fmla="*/ 4763 w 25400"/>
                <a:gd name="connsiteY1" fmla="*/ 25443 h 38100"/>
                <a:gd name="connsiteX2" fmla="*/ 15557 w 25400"/>
                <a:gd name="connsiteY2" fmla="*/ 31793 h 38100"/>
                <a:gd name="connsiteX3" fmla="*/ 26353 w 25400"/>
                <a:gd name="connsiteY3" fmla="*/ 12743 h 38100"/>
                <a:gd name="connsiteX4" fmla="*/ 15557 w 25400"/>
                <a:gd name="connsiteY4" fmla="*/ 639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38100">
                  <a:moveTo>
                    <a:pt x="15557" y="6393"/>
                  </a:moveTo>
                  <a:cubicBezTo>
                    <a:pt x="9207" y="10202"/>
                    <a:pt x="4763" y="18457"/>
                    <a:pt x="4763" y="25443"/>
                  </a:cubicBezTo>
                  <a:cubicBezTo>
                    <a:pt x="4763" y="32427"/>
                    <a:pt x="9843" y="35602"/>
                    <a:pt x="15557" y="31793"/>
                  </a:cubicBezTo>
                  <a:cubicBezTo>
                    <a:pt x="21272" y="27982"/>
                    <a:pt x="26353" y="19727"/>
                    <a:pt x="26353" y="12743"/>
                  </a:cubicBezTo>
                  <a:cubicBezTo>
                    <a:pt x="26353" y="5757"/>
                    <a:pt x="21272" y="2582"/>
                    <a:pt x="15557" y="6393"/>
                  </a:cubicBezTo>
                  <a:close/>
                </a:path>
              </a:pathLst>
            </a:custGeom>
            <a:solidFill>
              <a:srgbClr val="3F5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8" name="任意多边形: 形状 9867"/>
            <p:cNvSpPr/>
            <p:nvPr/>
          </p:nvSpPr>
          <p:spPr>
            <a:xfrm>
              <a:off x="7713663" y="3802973"/>
              <a:ext cx="25400" cy="38100"/>
            </a:xfrm>
            <a:custGeom>
              <a:avLst/>
              <a:gdLst>
                <a:gd name="connsiteX0" fmla="*/ 15557 w 25400"/>
                <a:gd name="connsiteY0" fmla="*/ 6393 h 38100"/>
                <a:gd name="connsiteX1" fmla="*/ 4763 w 25400"/>
                <a:gd name="connsiteY1" fmla="*/ 25443 h 38100"/>
                <a:gd name="connsiteX2" fmla="*/ 15557 w 25400"/>
                <a:gd name="connsiteY2" fmla="*/ 31793 h 38100"/>
                <a:gd name="connsiteX3" fmla="*/ 26353 w 25400"/>
                <a:gd name="connsiteY3" fmla="*/ 12743 h 38100"/>
                <a:gd name="connsiteX4" fmla="*/ 15557 w 25400"/>
                <a:gd name="connsiteY4" fmla="*/ 639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38100">
                  <a:moveTo>
                    <a:pt x="15557" y="6393"/>
                  </a:moveTo>
                  <a:cubicBezTo>
                    <a:pt x="9207" y="10202"/>
                    <a:pt x="4763" y="18457"/>
                    <a:pt x="4763" y="25443"/>
                  </a:cubicBezTo>
                  <a:cubicBezTo>
                    <a:pt x="4763" y="32427"/>
                    <a:pt x="9843" y="35602"/>
                    <a:pt x="15557" y="31793"/>
                  </a:cubicBezTo>
                  <a:cubicBezTo>
                    <a:pt x="21272" y="27982"/>
                    <a:pt x="26353" y="19727"/>
                    <a:pt x="26353" y="12743"/>
                  </a:cubicBezTo>
                  <a:cubicBezTo>
                    <a:pt x="26353" y="5757"/>
                    <a:pt x="21272" y="2582"/>
                    <a:pt x="15557" y="6393"/>
                  </a:cubicBezTo>
                  <a:close/>
                </a:path>
              </a:pathLst>
            </a:custGeom>
            <a:noFill/>
            <a:ln w="9525" cap="flat">
              <a:solidFill>
                <a:srgbClr val="3F55CE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9" name="任意多边形: 形状 9868"/>
            <p:cNvSpPr/>
            <p:nvPr/>
          </p:nvSpPr>
          <p:spPr>
            <a:xfrm>
              <a:off x="7726045" y="3724910"/>
              <a:ext cx="6350" cy="88900"/>
            </a:xfrm>
            <a:custGeom>
              <a:avLst/>
              <a:gdLst>
                <a:gd name="connsiteX0" fmla="*/ 3175 w 6350"/>
                <a:gd name="connsiteY0" fmla="*/ 3175 h 88900"/>
                <a:gd name="connsiteX1" fmla="*/ 3175 w 6350"/>
                <a:gd name="connsiteY1" fmla="*/ 3175 h 88900"/>
                <a:gd name="connsiteX2" fmla="*/ 3175 w 6350"/>
                <a:gd name="connsiteY2" fmla="*/ 91440 h 88900"/>
                <a:gd name="connsiteX3" fmla="*/ 3175 w 6350"/>
                <a:gd name="connsiteY3" fmla="*/ 91440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" h="88900">
                  <a:moveTo>
                    <a:pt x="3175" y="3175"/>
                  </a:moveTo>
                  <a:lnTo>
                    <a:pt x="3175" y="3175"/>
                  </a:lnTo>
                  <a:lnTo>
                    <a:pt x="3175" y="91440"/>
                  </a:lnTo>
                  <a:lnTo>
                    <a:pt x="3175" y="91440"/>
                  </a:lnTo>
                  <a:close/>
                </a:path>
              </a:pathLst>
            </a:custGeom>
            <a:noFill/>
            <a:ln w="6350" cap="flat">
              <a:solidFill>
                <a:srgbClr val="5A69E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0" name="任意多边形: 形状 9869"/>
            <p:cNvSpPr/>
            <p:nvPr/>
          </p:nvSpPr>
          <p:spPr>
            <a:xfrm>
              <a:off x="7124065" y="3469005"/>
              <a:ext cx="908050" cy="565150"/>
            </a:xfrm>
            <a:custGeom>
              <a:avLst/>
              <a:gdLst>
                <a:gd name="connsiteX0" fmla="*/ 868045 w 908050"/>
                <a:gd name="connsiteY0" fmla="*/ 31750 h 565150"/>
                <a:gd name="connsiteX1" fmla="*/ 842010 w 908050"/>
                <a:gd name="connsiteY1" fmla="*/ 3175 h 565150"/>
                <a:gd name="connsiteX2" fmla="*/ 3175 w 908050"/>
                <a:gd name="connsiteY2" fmla="*/ 448310 h 565150"/>
                <a:gd name="connsiteX3" fmla="*/ 47625 w 908050"/>
                <a:gd name="connsiteY3" fmla="*/ 563245 h 565150"/>
                <a:gd name="connsiteX4" fmla="*/ 908685 w 908050"/>
                <a:gd name="connsiteY4" fmla="*/ 90805 h 56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8050" h="565150">
                  <a:moveTo>
                    <a:pt x="868045" y="31750"/>
                  </a:moveTo>
                  <a:lnTo>
                    <a:pt x="842010" y="3175"/>
                  </a:lnTo>
                  <a:lnTo>
                    <a:pt x="3175" y="448310"/>
                  </a:lnTo>
                  <a:lnTo>
                    <a:pt x="47625" y="563245"/>
                  </a:lnTo>
                  <a:lnTo>
                    <a:pt x="908685" y="90805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9871" name="任意多边形: 形状 9870"/>
            <p:cNvSpPr/>
            <p:nvPr/>
          </p:nvSpPr>
          <p:spPr>
            <a:xfrm>
              <a:off x="7105333" y="3912791"/>
              <a:ext cx="95250" cy="120650"/>
            </a:xfrm>
            <a:custGeom>
              <a:avLst/>
              <a:gdLst>
                <a:gd name="connsiteX0" fmla="*/ 49848 w 95250"/>
                <a:gd name="connsiteY0" fmla="*/ 10710 h 120650"/>
                <a:gd name="connsiteX1" fmla="*/ 4763 w 95250"/>
                <a:gd name="connsiteY1" fmla="*/ 36744 h 120650"/>
                <a:gd name="connsiteX2" fmla="*/ 49848 w 95250"/>
                <a:gd name="connsiteY2" fmla="*/ 113579 h 120650"/>
                <a:gd name="connsiteX3" fmla="*/ 94933 w 95250"/>
                <a:gd name="connsiteY3" fmla="*/ 87544 h 120650"/>
                <a:gd name="connsiteX4" fmla="*/ 49848 w 95250"/>
                <a:gd name="connsiteY4" fmla="*/ 10710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20650">
                  <a:moveTo>
                    <a:pt x="49848" y="10710"/>
                  </a:moveTo>
                  <a:cubicBezTo>
                    <a:pt x="25083" y="-3261"/>
                    <a:pt x="4763" y="8169"/>
                    <a:pt x="4763" y="36744"/>
                  </a:cubicBezTo>
                  <a:cubicBezTo>
                    <a:pt x="4763" y="65319"/>
                    <a:pt x="25083" y="99610"/>
                    <a:pt x="49848" y="113579"/>
                  </a:cubicBezTo>
                  <a:cubicBezTo>
                    <a:pt x="74613" y="126914"/>
                    <a:pt x="94933" y="115485"/>
                    <a:pt x="94933" y="87544"/>
                  </a:cubicBezTo>
                  <a:cubicBezTo>
                    <a:pt x="94933" y="59604"/>
                    <a:pt x="74613" y="25314"/>
                    <a:pt x="49848" y="10710"/>
                  </a:cubicBezTo>
                  <a:close/>
                </a:path>
              </a:pathLst>
            </a:custGeom>
            <a:solidFill>
              <a:srgbClr val="3F5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2" name="任意多边形: 形状 9871"/>
            <p:cNvSpPr/>
            <p:nvPr/>
          </p:nvSpPr>
          <p:spPr>
            <a:xfrm>
              <a:off x="7295515" y="3816220"/>
              <a:ext cx="88900" cy="114300"/>
            </a:xfrm>
            <a:custGeom>
              <a:avLst/>
              <a:gdLst>
                <a:gd name="connsiteX0" fmla="*/ 41275 w 88900"/>
                <a:gd name="connsiteY0" fmla="*/ 9179 h 114300"/>
                <a:gd name="connsiteX1" fmla="*/ 3175 w 88900"/>
                <a:gd name="connsiteY1" fmla="*/ 11084 h 114300"/>
                <a:gd name="connsiteX2" fmla="*/ 33655 w 88900"/>
                <a:gd name="connsiteY2" fmla="*/ 14894 h 114300"/>
                <a:gd name="connsiteX3" fmla="*/ 78740 w 88900"/>
                <a:gd name="connsiteY3" fmla="*/ 91729 h 114300"/>
                <a:gd name="connsiteX4" fmla="*/ 66675 w 88900"/>
                <a:gd name="connsiteY4" fmla="*/ 115224 h 114300"/>
                <a:gd name="connsiteX5" fmla="*/ 86995 w 88900"/>
                <a:gd name="connsiteY5" fmla="*/ 86014 h 114300"/>
                <a:gd name="connsiteX6" fmla="*/ 41275 w 88900"/>
                <a:gd name="connsiteY6" fmla="*/ 91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900" h="114300">
                  <a:moveTo>
                    <a:pt x="41275" y="9179"/>
                  </a:moveTo>
                  <a:cubicBezTo>
                    <a:pt x="25400" y="289"/>
                    <a:pt x="11430" y="1559"/>
                    <a:pt x="3175" y="11084"/>
                  </a:cubicBezTo>
                  <a:cubicBezTo>
                    <a:pt x="11430" y="7274"/>
                    <a:pt x="21590" y="8544"/>
                    <a:pt x="33655" y="14894"/>
                  </a:cubicBezTo>
                  <a:cubicBezTo>
                    <a:pt x="58420" y="28864"/>
                    <a:pt x="78740" y="63789"/>
                    <a:pt x="78740" y="91729"/>
                  </a:cubicBezTo>
                  <a:cubicBezTo>
                    <a:pt x="78740" y="101889"/>
                    <a:pt x="71120" y="109509"/>
                    <a:pt x="66675" y="115224"/>
                  </a:cubicBezTo>
                  <a:cubicBezTo>
                    <a:pt x="75565" y="110779"/>
                    <a:pt x="86995" y="100619"/>
                    <a:pt x="86995" y="86014"/>
                  </a:cubicBezTo>
                  <a:cubicBezTo>
                    <a:pt x="86995" y="58074"/>
                    <a:pt x="66675" y="23784"/>
                    <a:pt x="41275" y="9179"/>
                  </a:cubicBezTo>
                  <a:close/>
                </a:path>
              </a:pathLst>
            </a:custGeom>
            <a:solidFill>
              <a:srgbClr val="3F55C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3" name="任意多边形: 形状 9872"/>
            <p:cNvSpPr/>
            <p:nvPr/>
          </p:nvSpPr>
          <p:spPr>
            <a:xfrm>
              <a:off x="7344389" y="4016689"/>
              <a:ext cx="139700" cy="241300"/>
            </a:xfrm>
            <a:custGeom>
              <a:avLst/>
              <a:gdLst>
                <a:gd name="connsiteX0" fmla="*/ 26056 w 139700"/>
                <a:gd name="connsiteY0" fmla="*/ 192091 h 241300"/>
                <a:gd name="connsiteX1" fmla="*/ 57171 w 139700"/>
                <a:gd name="connsiteY1" fmla="*/ 220666 h 241300"/>
                <a:gd name="connsiteX2" fmla="*/ 124481 w 139700"/>
                <a:gd name="connsiteY2" fmla="*/ 131766 h 241300"/>
                <a:gd name="connsiteX3" fmla="*/ 127021 w 139700"/>
                <a:gd name="connsiteY3" fmla="*/ 132401 h 241300"/>
                <a:gd name="connsiteX4" fmla="*/ 50186 w 139700"/>
                <a:gd name="connsiteY4" fmla="*/ 232731 h 241300"/>
                <a:gd name="connsiteX5" fmla="*/ 5101 w 139700"/>
                <a:gd name="connsiteY5" fmla="*/ 199076 h 241300"/>
                <a:gd name="connsiteX6" fmla="*/ 118766 w 139700"/>
                <a:gd name="connsiteY6" fmla="*/ 7306 h 241300"/>
                <a:gd name="connsiteX7" fmla="*/ 136546 w 139700"/>
                <a:gd name="connsiteY7" fmla="*/ 18736 h 241300"/>
                <a:gd name="connsiteX8" fmla="*/ 106701 w 139700"/>
                <a:gd name="connsiteY8" fmla="*/ 81601 h 241300"/>
                <a:gd name="connsiteX9" fmla="*/ 100351 w 139700"/>
                <a:gd name="connsiteY9" fmla="*/ 79696 h 241300"/>
                <a:gd name="connsiteX10" fmla="*/ 128291 w 139700"/>
                <a:gd name="connsiteY10" fmla="*/ 20006 h 241300"/>
                <a:gd name="connsiteX11" fmla="*/ 118766 w 139700"/>
                <a:gd name="connsiteY11" fmla="*/ 13656 h 241300"/>
                <a:gd name="connsiteX12" fmla="*/ 26056 w 139700"/>
                <a:gd name="connsiteY12" fmla="*/ 192091 h 24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9700" h="241300">
                  <a:moveTo>
                    <a:pt x="26056" y="192091"/>
                  </a:moveTo>
                  <a:cubicBezTo>
                    <a:pt x="23516" y="218126"/>
                    <a:pt x="31771" y="235906"/>
                    <a:pt x="57171" y="220666"/>
                  </a:cubicBezTo>
                  <a:cubicBezTo>
                    <a:pt x="82571" y="205426"/>
                    <a:pt x="110511" y="165421"/>
                    <a:pt x="124481" y="131766"/>
                  </a:cubicBezTo>
                  <a:lnTo>
                    <a:pt x="127021" y="132401"/>
                  </a:lnTo>
                  <a:cubicBezTo>
                    <a:pt x="109241" y="171771"/>
                    <a:pt x="82571" y="213046"/>
                    <a:pt x="50186" y="232731"/>
                  </a:cubicBezTo>
                  <a:cubicBezTo>
                    <a:pt x="13991" y="254956"/>
                    <a:pt x="2561" y="231461"/>
                    <a:pt x="5101" y="199076"/>
                  </a:cubicBezTo>
                  <a:cubicBezTo>
                    <a:pt x="11451" y="129226"/>
                    <a:pt x="74951" y="25721"/>
                    <a:pt x="118766" y="7306"/>
                  </a:cubicBezTo>
                  <a:cubicBezTo>
                    <a:pt x="130831" y="2226"/>
                    <a:pt x="137816" y="4131"/>
                    <a:pt x="136546" y="18736"/>
                  </a:cubicBezTo>
                  <a:cubicBezTo>
                    <a:pt x="134641" y="37151"/>
                    <a:pt x="118766" y="75886"/>
                    <a:pt x="106701" y="81601"/>
                  </a:cubicBezTo>
                  <a:cubicBezTo>
                    <a:pt x="104161" y="82871"/>
                    <a:pt x="101621" y="82871"/>
                    <a:pt x="100351" y="79696"/>
                  </a:cubicBezTo>
                  <a:cubicBezTo>
                    <a:pt x="110511" y="63821"/>
                    <a:pt x="127021" y="33341"/>
                    <a:pt x="128291" y="20006"/>
                  </a:cubicBezTo>
                  <a:cubicBezTo>
                    <a:pt x="128926" y="13656"/>
                    <a:pt x="125751" y="10481"/>
                    <a:pt x="118766" y="13656"/>
                  </a:cubicBezTo>
                  <a:cubicBezTo>
                    <a:pt x="86381" y="28896"/>
                    <a:pt x="31771" y="133671"/>
                    <a:pt x="26056" y="19209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4" name="任意多边形: 形状 9873"/>
            <p:cNvSpPr/>
            <p:nvPr/>
          </p:nvSpPr>
          <p:spPr>
            <a:xfrm>
              <a:off x="7454408" y="4075401"/>
              <a:ext cx="95250" cy="120650"/>
            </a:xfrm>
            <a:custGeom>
              <a:avLst/>
              <a:gdLst>
                <a:gd name="connsiteX0" fmla="*/ 96377 w 95250"/>
                <a:gd name="connsiteY0" fmla="*/ 29874 h 120650"/>
                <a:gd name="connsiteX1" fmla="*/ 76058 w 95250"/>
                <a:gd name="connsiteY1" fmla="*/ 59084 h 120650"/>
                <a:gd name="connsiteX2" fmla="*/ 59548 w 95250"/>
                <a:gd name="connsiteY2" fmla="*/ 54004 h 120650"/>
                <a:gd name="connsiteX3" fmla="*/ 20177 w 95250"/>
                <a:gd name="connsiteY3" fmla="*/ 113059 h 120650"/>
                <a:gd name="connsiteX4" fmla="*/ 4937 w 95250"/>
                <a:gd name="connsiteY4" fmla="*/ 102899 h 120650"/>
                <a:gd name="connsiteX5" fmla="*/ 61452 w 95250"/>
                <a:gd name="connsiteY5" fmla="*/ 6379 h 120650"/>
                <a:gd name="connsiteX6" fmla="*/ 69073 w 95250"/>
                <a:gd name="connsiteY6" fmla="*/ 7015 h 120650"/>
                <a:gd name="connsiteX7" fmla="*/ 70342 w 95250"/>
                <a:gd name="connsiteY7" fmla="*/ 6379 h 120650"/>
                <a:gd name="connsiteX8" fmla="*/ 76058 w 95250"/>
                <a:gd name="connsiteY8" fmla="*/ 11459 h 120650"/>
                <a:gd name="connsiteX9" fmla="*/ 65898 w 95250"/>
                <a:gd name="connsiteY9" fmla="*/ 43844 h 120650"/>
                <a:gd name="connsiteX10" fmla="*/ 77327 w 95250"/>
                <a:gd name="connsiteY10" fmla="*/ 54640 h 120650"/>
                <a:gd name="connsiteX11" fmla="*/ 93837 w 95250"/>
                <a:gd name="connsiteY11" fmla="*/ 29874 h 120650"/>
                <a:gd name="connsiteX12" fmla="*/ 96377 w 95250"/>
                <a:gd name="connsiteY12" fmla="*/ 29874 h 120650"/>
                <a:gd name="connsiteX13" fmla="*/ 58277 w 95250"/>
                <a:gd name="connsiteY13" fmla="*/ 48290 h 120650"/>
                <a:gd name="connsiteX14" fmla="*/ 58277 w 95250"/>
                <a:gd name="connsiteY14" fmla="*/ 36224 h 120650"/>
                <a:gd name="connsiteX15" fmla="*/ 63992 w 95250"/>
                <a:gd name="connsiteY15" fmla="*/ 13365 h 120650"/>
                <a:gd name="connsiteX16" fmla="*/ 18908 w 95250"/>
                <a:gd name="connsiteY16" fmla="*/ 93374 h 120650"/>
                <a:gd name="connsiteX17" fmla="*/ 25892 w 95250"/>
                <a:gd name="connsiteY17" fmla="*/ 100359 h 120650"/>
                <a:gd name="connsiteX18" fmla="*/ 58277 w 95250"/>
                <a:gd name="connsiteY18" fmla="*/ 48290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5250" h="120650">
                  <a:moveTo>
                    <a:pt x="96377" y="29874"/>
                  </a:moveTo>
                  <a:cubicBezTo>
                    <a:pt x="90027" y="47654"/>
                    <a:pt x="82408" y="55909"/>
                    <a:pt x="76058" y="59084"/>
                  </a:cubicBezTo>
                  <a:cubicBezTo>
                    <a:pt x="69073" y="62894"/>
                    <a:pt x="62087" y="61624"/>
                    <a:pt x="59548" y="54004"/>
                  </a:cubicBezTo>
                  <a:cubicBezTo>
                    <a:pt x="49387" y="81309"/>
                    <a:pt x="34783" y="104169"/>
                    <a:pt x="20177" y="113059"/>
                  </a:cubicBezTo>
                  <a:cubicBezTo>
                    <a:pt x="9383" y="119409"/>
                    <a:pt x="3667" y="114965"/>
                    <a:pt x="4937" y="102899"/>
                  </a:cubicBezTo>
                  <a:cubicBezTo>
                    <a:pt x="7477" y="77499"/>
                    <a:pt x="37323" y="18444"/>
                    <a:pt x="61452" y="6379"/>
                  </a:cubicBezTo>
                  <a:cubicBezTo>
                    <a:pt x="66533" y="3840"/>
                    <a:pt x="68437" y="4474"/>
                    <a:pt x="69073" y="7015"/>
                  </a:cubicBezTo>
                  <a:cubicBezTo>
                    <a:pt x="69708" y="6379"/>
                    <a:pt x="69708" y="6379"/>
                    <a:pt x="70342" y="6379"/>
                  </a:cubicBezTo>
                  <a:cubicBezTo>
                    <a:pt x="75423" y="3840"/>
                    <a:pt x="76058" y="8919"/>
                    <a:pt x="76058" y="11459"/>
                  </a:cubicBezTo>
                  <a:cubicBezTo>
                    <a:pt x="75423" y="17174"/>
                    <a:pt x="67167" y="31779"/>
                    <a:pt x="65898" y="43844"/>
                  </a:cubicBezTo>
                  <a:cubicBezTo>
                    <a:pt x="64627" y="55274"/>
                    <a:pt x="70977" y="58449"/>
                    <a:pt x="77327" y="54640"/>
                  </a:cubicBezTo>
                  <a:cubicBezTo>
                    <a:pt x="82408" y="51465"/>
                    <a:pt x="87487" y="44479"/>
                    <a:pt x="93837" y="29874"/>
                  </a:cubicBezTo>
                  <a:lnTo>
                    <a:pt x="96377" y="29874"/>
                  </a:lnTo>
                  <a:close/>
                  <a:moveTo>
                    <a:pt x="58277" y="48290"/>
                  </a:moveTo>
                  <a:cubicBezTo>
                    <a:pt x="57642" y="45115"/>
                    <a:pt x="57642" y="41304"/>
                    <a:pt x="58277" y="36224"/>
                  </a:cubicBezTo>
                  <a:cubicBezTo>
                    <a:pt x="59548" y="26065"/>
                    <a:pt x="61452" y="18444"/>
                    <a:pt x="63992" y="13365"/>
                  </a:cubicBezTo>
                  <a:cubicBezTo>
                    <a:pt x="41133" y="25429"/>
                    <a:pt x="20812" y="74959"/>
                    <a:pt x="18908" y="93374"/>
                  </a:cubicBezTo>
                  <a:cubicBezTo>
                    <a:pt x="18273" y="100359"/>
                    <a:pt x="20812" y="103534"/>
                    <a:pt x="25892" y="100359"/>
                  </a:cubicBezTo>
                  <a:cubicBezTo>
                    <a:pt x="35417" y="94644"/>
                    <a:pt x="49387" y="71784"/>
                    <a:pt x="58277" y="4829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5" name="任意多边形: 形状 9874"/>
            <p:cNvSpPr/>
            <p:nvPr/>
          </p:nvSpPr>
          <p:spPr>
            <a:xfrm>
              <a:off x="7520274" y="3952055"/>
              <a:ext cx="101600" cy="254000"/>
            </a:xfrm>
            <a:custGeom>
              <a:avLst/>
              <a:gdLst>
                <a:gd name="connsiteX0" fmla="*/ 83851 w 101600"/>
                <a:gd name="connsiteY0" fmla="*/ 122740 h 254000"/>
                <a:gd name="connsiteX1" fmla="*/ 60356 w 101600"/>
                <a:gd name="connsiteY1" fmla="*/ 158935 h 254000"/>
                <a:gd name="connsiteX2" fmla="*/ 48291 w 101600"/>
                <a:gd name="connsiteY2" fmla="*/ 159570 h 254000"/>
                <a:gd name="connsiteX3" fmla="*/ 13366 w 101600"/>
                <a:gd name="connsiteY3" fmla="*/ 252280 h 254000"/>
                <a:gd name="connsiteX4" fmla="*/ 5111 w 101600"/>
                <a:gd name="connsiteY4" fmla="*/ 239580 h 254000"/>
                <a:gd name="connsiteX5" fmla="*/ 97186 w 101600"/>
                <a:gd name="connsiteY5" fmla="*/ 5265 h 254000"/>
                <a:gd name="connsiteX6" fmla="*/ 101631 w 101600"/>
                <a:gd name="connsiteY6" fmla="*/ 11615 h 254000"/>
                <a:gd name="connsiteX7" fmla="*/ 50196 w 101600"/>
                <a:gd name="connsiteY7" fmla="*/ 110675 h 254000"/>
                <a:gd name="connsiteX8" fmla="*/ 45751 w 101600"/>
                <a:gd name="connsiteY8" fmla="*/ 123375 h 254000"/>
                <a:gd name="connsiteX9" fmla="*/ 49561 w 101600"/>
                <a:gd name="connsiteY9" fmla="*/ 127820 h 254000"/>
                <a:gd name="connsiteX10" fmla="*/ 61626 w 101600"/>
                <a:gd name="connsiteY10" fmla="*/ 152585 h 254000"/>
                <a:gd name="connsiteX11" fmla="*/ 81946 w 101600"/>
                <a:gd name="connsiteY11" fmla="*/ 122105 h 254000"/>
                <a:gd name="connsiteX12" fmla="*/ 83851 w 101600"/>
                <a:gd name="connsiteY12" fmla="*/ 122740 h 254000"/>
                <a:gd name="connsiteX13" fmla="*/ 40036 w 101600"/>
                <a:gd name="connsiteY13" fmla="*/ 142425 h 254000"/>
                <a:gd name="connsiteX14" fmla="*/ 17176 w 101600"/>
                <a:gd name="connsiteY14" fmla="*/ 230055 h 254000"/>
                <a:gd name="connsiteX15" fmla="*/ 19716 w 101600"/>
                <a:gd name="connsiteY15" fmla="*/ 238310 h 254000"/>
                <a:gd name="connsiteX16" fmla="*/ 43846 w 101600"/>
                <a:gd name="connsiteY16" fmla="*/ 164015 h 254000"/>
                <a:gd name="connsiteX17" fmla="*/ 40036 w 101600"/>
                <a:gd name="connsiteY17" fmla="*/ 142425 h 254000"/>
                <a:gd name="connsiteX18" fmla="*/ 54006 w 101600"/>
                <a:gd name="connsiteY18" fmla="*/ 101150 h 254000"/>
                <a:gd name="connsiteX19" fmla="*/ 94646 w 101600"/>
                <a:gd name="connsiteY19" fmla="*/ 22410 h 254000"/>
                <a:gd name="connsiteX20" fmla="*/ 92741 w 101600"/>
                <a:gd name="connsiteY20" fmla="*/ 20505 h 254000"/>
                <a:gd name="connsiteX21" fmla="*/ 54006 w 101600"/>
                <a:gd name="connsiteY21" fmla="*/ 101150 h 25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1600" h="254000">
                  <a:moveTo>
                    <a:pt x="83851" y="122740"/>
                  </a:moveTo>
                  <a:cubicBezTo>
                    <a:pt x="76866" y="142425"/>
                    <a:pt x="66706" y="155125"/>
                    <a:pt x="60356" y="158935"/>
                  </a:cubicBezTo>
                  <a:cubicBezTo>
                    <a:pt x="56546" y="161475"/>
                    <a:pt x="51466" y="161475"/>
                    <a:pt x="48291" y="159570"/>
                  </a:cubicBezTo>
                  <a:cubicBezTo>
                    <a:pt x="44481" y="195130"/>
                    <a:pt x="27336" y="243390"/>
                    <a:pt x="13366" y="252280"/>
                  </a:cubicBezTo>
                  <a:cubicBezTo>
                    <a:pt x="9556" y="254820"/>
                    <a:pt x="3206" y="256090"/>
                    <a:pt x="5111" y="239580"/>
                  </a:cubicBezTo>
                  <a:cubicBezTo>
                    <a:pt x="9556" y="193860"/>
                    <a:pt x="70516" y="17330"/>
                    <a:pt x="97186" y="5265"/>
                  </a:cubicBezTo>
                  <a:cubicBezTo>
                    <a:pt x="101631" y="3360"/>
                    <a:pt x="102266" y="7170"/>
                    <a:pt x="101631" y="11615"/>
                  </a:cubicBezTo>
                  <a:cubicBezTo>
                    <a:pt x="99726" y="34475"/>
                    <a:pt x="73691" y="80830"/>
                    <a:pt x="50196" y="110675"/>
                  </a:cubicBezTo>
                  <a:cubicBezTo>
                    <a:pt x="48926" y="114485"/>
                    <a:pt x="47021" y="118930"/>
                    <a:pt x="45751" y="123375"/>
                  </a:cubicBezTo>
                  <a:cubicBezTo>
                    <a:pt x="48291" y="122740"/>
                    <a:pt x="49561" y="125280"/>
                    <a:pt x="49561" y="127820"/>
                  </a:cubicBezTo>
                  <a:cubicBezTo>
                    <a:pt x="50196" y="146235"/>
                    <a:pt x="50831" y="158935"/>
                    <a:pt x="61626" y="152585"/>
                  </a:cubicBezTo>
                  <a:cubicBezTo>
                    <a:pt x="69246" y="148140"/>
                    <a:pt x="74326" y="137980"/>
                    <a:pt x="81946" y="122105"/>
                  </a:cubicBezTo>
                  <a:lnTo>
                    <a:pt x="83851" y="122740"/>
                  </a:lnTo>
                  <a:close/>
                  <a:moveTo>
                    <a:pt x="40036" y="142425"/>
                  </a:moveTo>
                  <a:cubicBezTo>
                    <a:pt x="27971" y="179890"/>
                    <a:pt x="18446" y="215450"/>
                    <a:pt x="17176" y="230055"/>
                  </a:cubicBezTo>
                  <a:cubicBezTo>
                    <a:pt x="16541" y="236405"/>
                    <a:pt x="17176" y="239580"/>
                    <a:pt x="19716" y="238310"/>
                  </a:cubicBezTo>
                  <a:cubicBezTo>
                    <a:pt x="26701" y="233865"/>
                    <a:pt x="41941" y="186240"/>
                    <a:pt x="43846" y="164015"/>
                  </a:cubicBezTo>
                  <a:cubicBezTo>
                    <a:pt x="44481" y="155125"/>
                    <a:pt x="43211" y="150045"/>
                    <a:pt x="40036" y="142425"/>
                  </a:cubicBezTo>
                  <a:close/>
                  <a:moveTo>
                    <a:pt x="54006" y="101150"/>
                  </a:moveTo>
                  <a:cubicBezTo>
                    <a:pt x="78136" y="64955"/>
                    <a:pt x="94011" y="30665"/>
                    <a:pt x="94646" y="22410"/>
                  </a:cubicBezTo>
                  <a:cubicBezTo>
                    <a:pt x="94646" y="20505"/>
                    <a:pt x="94011" y="19870"/>
                    <a:pt x="92741" y="20505"/>
                  </a:cubicBezTo>
                  <a:cubicBezTo>
                    <a:pt x="84486" y="24315"/>
                    <a:pt x="68611" y="59875"/>
                    <a:pt x="54006" y="1011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6" name="任意多边形: 形状 9875"/>
            <p:cNvSpPr/>
            <p:nvPr/>
          </p:nvSpPr>
          <p:spPr>
            <a:xfrm>
              <a:off x="7575687" y="3933005"/>
              <a:ext cx="95250" cy="241300"/>
            </a:xfrm>
            <a:custGeom>
              <a:avLst/>
              <a:gdLst>
                <a:gd name="connsiteX0" fmla="*/ 76063 w 95250"/>
                <a:gd name="connsiteY0" fmla="*/ 115120 h 241300"/>
                <a:gd name="connsiteX1" fmla="*/ 54473 w 95250"/>
                <a:gd name="connsiteY1" fmla="*/ 148775 h 241300"/>
                <a:gd name="connsiteX2" fmla="*/ 43679 w 95250"/>
                <a:gd name="connsiteY2" fmla="*/ 148775 h 241300"/>
                <a:gd name="connsiteX3" fmla="*/ 12563 w 95250"/>
                <a:gd name="connsiteY3" fmla="*/ 235770 h 241300"/>
                <a:gd name="connsiteX4" fmla="*/ 4944 w 95250"/>
                <a:gd name="connsiteY4" fmla="*/ 223705 h 241300"/>
                <a:gd name="connsiteX5" fmla="*/ 88129 w 95250"/>
                <a:gd name="connsiteY5" fmla="*/ 5265 h 241300"/>
                <a:gd name="connsiteX6" fmla="*/ 91938 w 95250"/>
                <a:gd name="connsiteY6" fmla="*/ 11615 h 241300"/>
                <a:gd name="connsiteX7" fmla="*/ 45583 w 95250"/>
                <a:gd name="connsiteY7" fmla="*/ 104325 h 241300"/>
                <a:gd name="connsiteX8" fmla="*/ 41773 w 95250"/>
                <a:gd name="connsiteY8" fmla="*/ 115755 h 241300"/>
                <a:gd name="connsiteX9" fmla="*/ 44948 w 95250"/>
                <a:gd name="connsiteY9" fmla="*/ 120200 h 241300"/>
                <a:gd name="connsiteX10" fmla="*/ 55108 w 95250"/>
                <a:gd name="connsiteY10" fmla="*/ 143695 h 241300"/>
                <a:gd name="connsiteX11" fmla="*/ 73523 w 95250"/>
                <a:gd name="connsiteY11" fmla="*/ 115120 h 241300"/>
                <a:gd name="connsiteX12" fmla="*/ 76063 w 95250"/>
                <a:gd name="connsiteY12" fmla="*/ 115120 h 241300"/>
                <a:gd name="connsiteX13" fmla="*/ 36694 w 95250"/>
                <a:gd name="connsiteY13" fmla="*/ 132265 h 241300"/>
                <a:gd name="connsiteX14" fmla="*/ 15738 w 95250"/>
                <a:gd name="connsiteY14" fmla="*/ 214180 h 241300"/>
                <a:gd name="connsiteX15" fmla="*/ 17644 w 95250"/>
                <a:gd name="connsiteY15" fmla="*/ 221800 h 241300"/>
                <a:gd name="connsiteX16" fmla="*/ 39233 w 95250"/>
                <a:gd name="connsiteY16" fmla="*/ 152585 h 241300"/>
                <a:gd name="connsiteX17" fmla="*/ 36694 w 95250"/>
                <a:gd name="connsiteY17" fmla="*/ 132265 h 241300"/>
                <a:gd name="connsiteX18" fmla="*/ 49394 w 95250"/>
                <a:gd name="connsiteY18" fmla="*/ 93530 h 241300"/>
                <a:gd name="connsiteX19" fmla="*/ 86223 w 95250"/>
                <a:gd name="connsiteY19" fmla="*/ 19870 h 241300"/>
                <a:gd name="connsiteX20" fmla="*/ 84319 w 95250"/>
                <a:gd name="connsiteY20" fmla="*/ 17965 h 241300"/>
                <a:gd name="connsiteX21" fmla="*/ 49394 w 95250"/>
                <a:gd name="connsiteY21" fmla="*/ 93530 h 24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5250" h="241300">
                  <a:moveTo>
                    <a:pt x="76063" y="115120"/>
                  </a:moveTo>
                  <a:cubicBezTo>
                    <a:pt x="69713" y="133535"/>
                    <a:pt x="60823" y="144965"/>
                    <a:pt x="54473" y="148775"/>
                  </a:cubicBezTo>
                  <a:cubicBezTo>
                    <a:pt x="50663" y="150680"/>
                    <a:pt x="46854" y="150680"/>
                    <a:pt x="43679" y="148775"/>
                  </a:cubicBezTo>
                  <a:cubicBezTo>
                    <a:pt x="40504" y="182430"/>
                    <a:pt x="24629" y="227515"/>
                    <a:pt x="12563" y="235770"/>
                  </a:cubicBezTo>
                  <a:cubicBezTo>
                    <a:pt x="9388" y="238310"/>
                    <a:pt x="3673" y="238945"/>
                    <a:pt x="4944" y="223705"/>
                  </a:cubicBezTo>
                  <a:cubicBezTo>
                    <a:pt x="8754" y="181160"/>
                    <a:pt x="63998" y="15425"/>
                    <a:pt x="88129" y="5265"/>
                  </a:cubicBezTo>
                  <a:cubicBezTo>
                    <a:pt x="91938" y="3360"/>
                    <a:pt x="92573" y="7170"/>
                    <a:pt x="91938" y="11615"/>
                  </a:cubicBezTo>
                  <a:cubicBezTo>
                    <a:pt x="90033" y="33205"/>
                    <a:pt x="66538" y="76385"/>
                    <a:pt x="45583" y="104325"/>
                  </a:cubicBezTo>
                  <a:cubicBezTo>
                    <a:pt x="44313" y="108135"/>
                    <a:pt x="43044" y="111945"/>
                    <a:pt x="41773" y="115755"/>
                  </a:cubicBezTo>
                  <a:cubicBezTo>
                    <a:pt x="43679" y="115120"/>
                    <a:pt x="44948" y="117660"/>
                    <a:pt x="44948" y="120200"/>
                  </a:cubicBezTo>
                  <a:cubicBezTo>
                    <a:pt x="44948" y="137345"/>
                    <a:pt x="45583" y="149410"/>
                    <a:pt x="55108" y="143695"/>
                  </a:cubicBezTo>
                  <a:cubicBezTo>
                    <a:pt x="62094" y="139885"/>
                    <a:pt x="66538" y="130360"/>
                    <a:pt x="73523" y="115120"/>
                  </a:cubicBezTo>
                  <a:lnTo>
                    <a:pt x="76063" y="115120"/>
                  </a:lnTo>
                  <a:close/>
                  <a:moveTo>
                    <a:pt x="36694" y="132265"/>
                  </a:moveTo>
                  <a:cubicBezTo>
                    <a:pt x="25898" y="167190"/>
                    <a:pt x="17008" y="200210"/>
                    <a:pt x="15738" y="214180"/>
                  </a:cubicBezTo>
                  <a:cubicBezTo>
                    <a:pt x="15104" y="220530"/>
                    <a:pt x="15738" y="223070"/>
                    <a:pt x="17644" y="221800"/>
                  </a:cubicBezTo>
                  <a:cubicBezTo>
                    <a:pt x="23994" y="217990"/>
                    <a:pt x="37329" y="173540"/>
                    <a:pt x="39233" y="152585"/>
                  </a:cubicBezTo>
                  <a:cubicBezTo>
                    <a:pt x="40504" y="144965"/>
                    <a:pt x="39869" y="139885"/>
                    <a:pt x="36694" y="132265"/>
                  </a:cubicBezTo>
                  <a:close/>
                  <a:moveTo>
                    <a:pt x="49394" y="93530"/>
                  </a:moveTo>
                  <a:cubicBezTo>
                    <a:pt x="70983" y="59875"/>
                    <a:pt x="85588" y="28125"/>
                    <a:pt x="86223" y="19870"/>
                  </a:cubicBezTo>
                  <a:cubicBezTo>
                    <a:pt x="86223" y="17965"/>
                    <a:pt x="85588" y="17330"/>
                    <a:pt x="84319" y="17965"/>
                  </a:cubicBezTo>
                  <a:cubicBezTo>
                    <a:pt x="77333" y="21775"/>
                    <a:pt x="62729" y="54795"/>
                    <a:pt x="49394" y="9353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7" name="任意多边形: 形状 9876"/>
            <p:cNvSpPr/>
            <p:nvPr/>
          </p:nvSpPr>
          <p:spPr>
            <a:xfrm>
              <a:off x="7638542" y="3968688"/>
              <a:ext cx="101600" cy="114300"/>
            </a:xfrm>
            <a:custGeom>
              <a:avLst/>
              <a:gdLst>
                <a:gd name="connsiteX0" fmla="*/ 15748 w 101600"/>
                <a:gd name="connsiteY0" fmla="*/ 87057 h 114300"/>
                <a:gd name="connsiteX1" fmla="*/ 14478 w 101600"/>
                <a:gd name="connsiteY1" fmla="*/ 94042 h 114300"/>
                <a:gd name="connsiteX2" fmla="*/ 24003 w 101600"/>
                <a:gd name="connsiteY2" fmla="*/ 103567 h 114300"/>
                <a:gd name="connsiteX3" fmla="*/ 52578 w 101600"/>
                <a:gd name="connsiteY3" fmla="*/ 63562 h 114300"/>
                <a:gd name="connsiteX4" fmla="*/ 85598 w 101600"/>
                <a:gd name="connsiteY4" fmla="*/ 5778 h 114300"/>
                <a:gd name="connsiteX5" fmla="*/ 91948 w 101600"/>
                <a:gd name="connsiteY5" fmla="*/ 12762 h 114300"/>
                <a:gd name="connsiteX6" fmla="*/ 60198 w 101600"/>
                <a:gd name="connsiteY6" fmla="*/ 61022 h 114300"/>
                <a:gd name="connsiteX7" fmla="*/ 58928 w 101600"/>
                <a:gd name="connsiteY7" fmla="*/ 68007 h 114300"/>
                <a:gd name="connsiteX8" fmla="*/ 67183 w 101600"/>
                <a:gd name="connsiteY8" fmla="*/ 78167 h 114300"/>
                <a:gd name="connsiteX9" fmla="*/ 97664 w 101600"/>
                <a:gd name="connsiteY9" fmla="*/ 29907 h 114300"/>
                <a:gd name="connsiteX10" fmla="*/ 98933 w 101600"/>
                <a:gd name="connsiteY10" fmla="*/ 30542 h 114300"/>
                <a:gd name="connsiteX11" fmla="*/ 64008 w 101600"/>
                <a:gd name="connsiteY11" fmla="*/ 84517 h 114300"/>
                <a:gd name="connsiteX12" fmla="*/ 50673 w 101600"/>
                <a:gd name="connsiteY12" fmla="*/ 71817 h 114300"/>
                <a:gd name="connsiteX13" fmla="*/ 50673 w 101600"/>
                <a:gd name="connsiteY13" fmla="*/ 71182 h 114300"/>
                <a:gd name="connsiteX14" fmla="*/ 20193 w 101600"/>
                <a:gd name="connsiteY14" fmla="*/ 110553 h 114300"/>
                <a:gd name="connsiteX15" fmla="*/ 4953 w 101600"/>
                <a:gd name="connsiteY15" fmla="*/ 98487 h 114300"/>
                <a:gd name="connsiteX16" fmla="*/ 45593 w 101600"/>
                <a:gd name="connsiteY16" fmla="*/ 24192 h 114300"/>
                <a:gd name="connsiteX17" fmla="*/ 52578 w 101600"/>
                <a:gd name="connsiteY17" fmla="*/ 31178 h 114300"/>
                <a:gd name="connsiteX18" fmla="*/ 15748 w 101600"/>
                <a:gd name="connsiteY18" fmla="*/ 87057 h 114300"/>
                <a:gd name="connsiteX19" fmla="*/ 16383 w 101600"/>
                <a:gd name="connsiteY19" fmla="*/ 82612 h 114300"/>
                <a:gd name="connsiteX20" fmla="*/ 46864 w 101600"/>
                <a:gd name="connsiteY20" fmla="*/ 33082 h 114300"/>
                <a:gd name="connsiteX21" fmla="*/ 44323 w 101600"/>
                <a:gd name="connsiteY21" fmla="*/ 30542 h 114300"/>
                <a:gd name="connsiteX22" fmla="*/ 16383 w 101600"/>
                <a:gd name="connsiteY22" fmla="*/ 82612 h 114300"/>
                <a:gd name="connsiteX23" fmla="*/ 61468 w 101600"/>
                <a:gd name="connsiteY23" fmla="*/ 57212 h 114300"/>
                <a:gd name="connsiteX24" fmla="*/ 87503 w 101600"/>
                <a:gd name="connsiteY24" fmla="*/ 15303 h 114300"/>
                <a:gd name="connsiteX25" fmla="*/ 84964 w 101600"/>
                <a:gd name="connsiteY25" fmla="*/ 12128 h 114300"/>
                <a:gd name="connsiteX26" fmla="*/ 61468 w 101600"/>
                <a:gd name="connsiteY26" fmla="*/ 57212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1600" h="114300">
                  <a:moveTo>
                    <a:pt x="15748" y="87057"/>
                  </a:moveTo>
                  <a:cubicBezTo>
                    <a:pt x="15114" y="89597"/>
                    <a:pt x="14478" y="92137"/>
                    <a:pt x="14478" y="94042"/>
                  </a:cubicBezTo>
                  <a:cubicBezTo>
                    <a:pt x="13843" y="101662"/>
                    <a:pt x="15114" y="108647"/>
                    <a:pt x="24003" y="103567"/>
                  </a:cubicBezTo>
                  <a:cubicBezTo>
                    <a:pt x="33528" y="97853"/>
                    <a:pt x="44323" y="81342"/>
                    <a:pt x="52578" y="63562"/>
                  </a:cubicBezTo>
                  <a:cubicBezTo>
                    <a:pt x="57658" y="41337"/>
                    <a:pt x="72898" y="12762"/>
                    <a:pt x="85598" y="5778"/>
                  </a:cubicBezTo>
                  <a:cubicBezTo>
                    <a:pt x="89408" y="3872"/>
                    <a:pt x="92583" y="3872"/>
                    <a:pt x="91948" y="12762"/>
                  </a:cubicBezTo>
                  <a:cubicBezTo>
                    <a:pt x="90043" y="30542"/>
                    <a:pt x="74803" y="50862"/>
                    <a:pt x="60198" y="61022"/>
                  </a:cubicBezTo>
                  <a:cubicBezTo>
                    <a:pt x="59564" y="63562"/>
                    <a:pt x="59564" y="66103"/>
                    <a:pt x="58928" y="68007"/>
                  </a:cubicBezTo>
                  <a:cubicBezTo>
                    <a:pt x="58293" y="75628"/>
                    <a:pt x="59564" y="83247"/>
                    <a:pt x="67183" y="78167"/>
                  </a:cubicBezTo>
                  <a:cubicBezTo>
                    <a:pt x="77343" y="71817"/>
                    <a:pt x="90043" y="50228"/>
                    <a:pt x="97664" y="29907"/>
                  </a:cubicBezTo>
                  <a:lnTo>
                    <a:pt x="98933" y="30542"/>
                  </a:lnTo>
                  <a:cubicBezTo>
                    <a:pt x="90678" y="55307"/>
                    <a:pt x="76708" y="76897"/>
                    <a:pt x="64008" y="84517"/>
                  </a:cubicBezTo>
                  <a:cubicBezTo>
                    <a:pt x="53848" y="90867"/>
                    <a:pt x="49403" y="83247"/>
                    <a:pt x="50673" y="71817"/>
                  </a:cubicBezTo>
                  <a:lnTo>
                    <a:pt x="50673" y="71182"/>
                  </a:lnTo>
                  <a:cubicBezTo>
                    <a:pt x="41783" y="89597"/>
                    <a:pt x="30353" y="104203"/>
                    <a:pt x="20193" y="110553"/>
                  </a:cubicBezTo>
                  <a:cubicBezTo>
                    <a:pt x="8764" y="117537"/>
                    <a:pt x="3683" y="111187"/>
                    <a:pt x="4953" y="98487"/>
                  </a:cubicBezTo>
                  <a:cubicBezTo>
                    <a:pt x="6858" y="74992"/>
                    <a:pt x="29718" y="32447"/>
                    <a:pt x="45593" y="24192"/>
                  </a:cubicBezTo>
                  <a:cubicBezTo>
                    <a:pt x="49403" y="22287"/>
                    <a:pt x="53848" y="22287"/>
                    <a:pt x="52578" y="31178"/>
                  </a:cubicBezTo>
                  <a:cubicBezTo>
                    <a:pt x="51308" y="50228"/>
                    <a:pt x="31623" y="75628"/>
                    <a:pt x="15748" y="87057"/>
                  </a:cubicBezTo>
                  <a:close/>
                  <a:moveTo>
                    <a:pt x="16383" y="82612"/>
                  </a:moveTo>
                  <a:cubicBezTo>
                    <a:pt x="26543" y="72453"/>
                    <a:pt x="45593" y="48957"/>
                    <a:pt x="46864" y="33082"/>
                  </a:cubicBezTo>
                  <a:cubicBezTo>
                    <a:pt x="46864" y="30542"/>
                    <a:pt x="46864" y="29272"/>
                    <a:pt x="44323" y="30542"/>
                  </a:cubicBezTo>
                  <a:cubicBezTo>
                    <a:pt x="36068" y="34987"/>
                    <a:pt x="22098" y="62292"/>
                    <a:pt x="16383" y="82612"/>
                  </a:cubicBezTo>
                  <a:close/>
                  <a:moveTo>
                    <a:pt x="61468" y="57212"/>
                  </a:moveTo>
                  <a:cubicBezTo>
                    <a:pt x="70993" y="47687"/>
                    <a:pt x="85598" y="29907"/>
                    <a:pt x="87503" y="15303"/>
                  </a:cubicBezTo>
                  <a:cubicBezTo>
                    <a:pt x="87503" y="12762"/>
                    <a:pt x="87503" y="10857"/>
                    <a:pt x="84964" y="12128"/>
                  </a:cubicBezTo>
                  <a:cubicBezTo>
                    <a:pt x="77343" y="15937"/>
                    <a:pt x="66548" y="38162"/>
                    <a:pt x="61468" y="5721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8" name="任意多边形: 形状 9877"/>
            <p:cNvSpPr/>
            <p:nvPr/>
          </p:nvSpPr>
          <p:spPr>
            <a:xfrm>
              <a:off x="7648575" y="3618481"/>
              <a:ext cx="88900" cy="114300"/>
            </a:xfrm>
            <a:custGeom>
              <a:avLst/>
              <a:gdLst>
                <a:gd name="connsiteX0" fmla="*/ 41275 w 88900"/>
                <a:gd name="connsiteY0" fmla="*/ 6099 h 114300"/>
                <a:gd name="connsiteX1" fmla="*/ 3175 w 88900"/>
                <a:gd name="connsiteY1" fmla="*/ 20069 h 114300"/>
                <a:gd name="connsiteX2" fmla="*/ 33655 w 88900"/>
                <a:gd name="connsiteY2" fmla="*/ 11814 h 114300"/>
                <a:gd name="connsiteX3" fmla="*/ 78740 w 88900"/>
                <a:gd name="connsiteY3" fmla="*/ 88649 h 114300"/>
                <a:gd name="connsiteX4" fmla="*/ 71755 w 88900"/>
                <a:gd name="connsiteY4" fmla="*/ 112144 h 114300"/>
                <a:gd name="connsiteX5" fmla="*/ 86360 w 88900"/>
                <a:gd name="connsiteY5" fmla="*/ 82934 h 114300"/>
                <a:gd name="connsiteX6" fmla="*/ 41275 w 88900"/>
                <a:gd name="connsiteY6" fmla="*/ 609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900" h="114300">
                  <a:moveTo>
                    <a:pt x="41275" y="6099"/>
                  </a:moveTo>
                  <a:cubicBezTo>
                    <a:pt x="25400" y="-2791"/>
                    <a:pt x="11430" y="10544"/>
                    <a:pt x="3175" y="20069"/>
                  </a:cubicBezTo>
                  <a:cubicBezTo>
                    <a:pt x="11430" y="16259"/>
                    <a:pt x="21590" y="5464"/>
                    <a:pt x="33655" y="11814"/>
                  </a:cubicBezTo>
                  <a:cubicBezTo>
                    <a:pt x="58420" y="25784"/>
                    <a:pt x="78740" y="60709"/>
                    <a:pt x="78740" y="88649"/>
                  </a:cubicBezTo>
                  <a:cubicBezTo>
                    <a:pt x="78740" y="98809"/>
                    <a:pt x="76200" y="106429"/>
                    <a:pt x="71755" y="112144"/>
                  </a:cubicBezTo>
                  <a:cubicBezTo>
                    <a:pt x="80645" y="107699"/>
                    <a:pt x="86995" y="97539"/>
                    <a:pt x="86360" y="82934"/>
                  </a:cubicBezTo>
                  <a:cubicBezTo>
                    <a:pt x="86360" y="54994"/>
                    <a:pt x="66040" y="20704"/>
                    <a:pt x="41275" y="6099"/>
                  </a:cubicBezTo>
                  <a:close/>
                </a:path>
              </a:pathLst>
            </a:custGeom>
            <a:solidFill>
              <a:srgbClr val="3F55C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9" name="任意多边形: 形状 9878"/>
            <p:cNvSpPr/>
            <p:nvPr/>
          </p:nvSpPr>
          <p:spPr>
            <a:xfrm>
              <a:off x="10987405" y="2016760"/>
              <a:ext cx="6350" cy="6350"/>
            </a:xfrm>
            <a:custGeom>
              <a:avLst/>
              <a:gdLst>
                <a:gd name="connsiteX0" fmla="*/ 5080 w 6350"/>
                <a:gd name="connsiteY0" fmla="*/ 3175 h 6350"/>
                <a:gd name="connsiteX1" fmla="*/ 3175 w 6350"/>
                <a:gd name="connsiteY1" fmla="*/ 7620 h 6350"/>
                <a:gd name="connsiteX2" fmla="*/ 5080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5080" y="3175"/>
                  </a:moveTo>
                  <a:cubicBezTo>
                    <a:pt x="4445" y="4445"/>
                    <a:pt x="3810" y="6350"/>
                    <a:pt x="3175" y="7620"/>
                  </a:cubicBezTo>
                  <a:cubicBezTo>
                    <a:pt x="3810" y="6350"/>
                    <a:pt x="4445" y="5080"/>
                    <a:pt x="5080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0" name="任意多边形: 形状 9879"/>
            <p:cNvSpPr/>
            <p:nvPr/>
          </p:nvSpPr>
          <p:spPr>
            <a:xfrm>
              <a:off x="10994390" y="1983740"/>
              <a:ext cx="6350" cy="12700"/>
            </a:xfrm>
            <a:custGeom>
              <a:avLst/>
              <a:gdLst>
                <a:gd name="connsiteX0" fmla="*/ 3810 w 6350"/>
                <a:gd name="connsiteY0" fmla="*/ 3175 h 12700"/>
                <a:gd name="connsiteX1" fmla="*/ 3175 w 6350"/>
                <a:gd name="connsiteY1" fmla="*/ 13970 h 12700"/>
                <a:gd name="connsiteX2" fmla="*/ 3810 w 6350"/>
                <a:gd name="connsiteY2" fmla="*/ 3175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12700">
                  <a:moveTo>
                    <a:pt x="3810" y="3175"/>
                  </a:moveTo>
                  <a:cubicBezTo>
                    <a:pt x="3810" y="6985"/>
                    <a:pt x="3810" y="10160"/>
                    <a:pt x="3175" y="13970"/>
                  </a:cubicBezTo>
                  <a:cubicBezTo>
                    <a:pt x="3175" y="10795"/>
                    <a:pt x="3810" y="6985"/>
                    <a:pt x="3810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1" name="任意多边形: 形状 9880"/>
            <p:cNvSpPr/>
            <p:nvPr/>
          </p:nvSpPr>
          <p:spPr>
            <a:xfrm>
              <a:off x="10982960" y="2025015"/>
              <a:ext cx="6350" cy="6350"/>
            </a:xfrm>
            <a:custGeom>
              <a:avLst/>
              <a:gdLst>
                <a:gd name="connsiteX0" fmla="*/ 5715 w 6350"/>
                <a:gd name="connsiteY0" fmla="*/ 3175 h 6350"/>
                <a:gd name="connsiteX1" fmla="*/ 3175 w 6350"/>
                <a:gd name="connsiteY1" fmla="*/ 6985 h 6350"/>
                <a:gd name="connsiteX2" fmla="*/ 571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5715" y="3175"/>
                  </a:moveTo>
                  <a:cubicBezTo>
                    <a:pt x="5080" y="4445"/>
                    <a:pt x="4445" y="5715"/>
                    <a:pt x="3175" y="6985"/>
                  </a:cubicBezTo>
                  <a:cubicBezTo>
                    <a:pt x="4445" y="5715"/>
                    <a:pt x="5080" y="4445"/>
                    <a:pt x="571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2" name="任意多边形: 形状 9881"/>
            <p:cNvSpPr/>
            <p:nvPr/>
          </p:nvSpPr>
          <p:spPr>
            <a:xfrm>
              <a:off x="10992485" y="1997710"/>
              <a:ext cx="6350" cy="12700"/>
            </a:xfrm>
            <a:custGeom>
              <a:avLst/>
              <a:gdLst>
                <a:gd name="connsiteX0" fmla="*/ 4445 w 6350"/>
                <a:gd name="connsiteY0" fmla="*/ 3175 h 12700"/>
                <a:gd name="connsiteX1" fmla="*/ 3175 w 6350"/>
                <a:gd name="connsiteY1" fmla="*/ 10160 h 12700"/>
                <a:gd name="connsiteX2" fmla="*/ 4445 w 6350"/>
                <a:gd name="connsiteY2" fmla="*/ 3175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12700">
                  <a:moveTo>
                    <a:pt x="4445" y="3175"/>
                  </a:moveTo>
                  <a:cubicBezTo>
                    <a:pt x="4445" y="5715"/>
                    <a:pt x="3810" y="7620"/>
                    <a:pt x="3175" y="10160"/>
                  </a:cubicBezTo>
                  <a:cubicBezTo>
                    <a:pt x="3810" y="7620"/>
                    <a:pt x="4445" y="5715"/>
                    <a:pt x="444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3" name="任意多边形: 形状 9882"/>
            <p:cNvSpPr/>
            <p:nvPr/>
          </p:nvSpPr>
          <p:spPr>
            <a:xfrm>
              <a:off x="10625455" y="1494155"/>
              <a:ext cx="6350" cy="6350"/>
            </a:xfrm>
            <a:custGeom>
              <a:avLst/>
              <a:gdLst>
                <a:gd name="connsiteX0" fmla="*/ 3175 w 6350"/>
                <a:gd name="connsiteY0" fmla="*/ 3175 h 6350"/>
                <a:gd name="connsiteX1" fmla="*/ 6985 w 6350"/>
                <a:gd name="connsiteY1" fmla="*/ 3810 h 6350"/>
                <a:gd name="connsiteX2" fmla="*/ 317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175"/>
                  </a:moveTo>
                  <a:cubicBezTo>
                    <a:pt x="4445" y="3175"/>
                    <a:pt x="5714" y="3810"/>
                    <a:pt x="6985" y="3810"/>
                  </a:cubicBezTo>
                  <a:cubicBezTo>
                    <a:pt x="5080" y="3810"/>
                    <a:pt x="3810" y="3175"/>
                    <a:pt x="317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4" name="任意多边形: 形状 9883"/>
            <p:cNvSpPr/>
            <p:nvPr/>
          </p:nvSpPr>
          <p:spPr>
            <a:xfrm>
              <a:off x="10990580" y="2007870"/>
              <a:ext cx="6350" cy="6350"/>
            </a:xfrm>
            <a:custGeom>
              <a:avLst/>
              <a:gdLst>
                <a:gd name="connsiteX0" fmla="*/ 4445 w 6350"/>
                <a:gd name="connsiteY0" fmla="*/ 3175 h 6350"/>
                <a:gd name="connsiteX1" fmla="*/ 3175 w 6350"/>
                <a:gd name="connsiteY1" fmla="*/ 8890 h 6350"/>
                <a:gd name="connsiteX2" fmla="*/ 444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4445" y="3175"/>
                  </a:moveTo>
                  <a:cubicBezTo>
                    <a:pt x="3810" y="5080"/>
                    <a:pt x="3810" y="6985"/>
                    <a:pt x="3175" y="8890"/>
                  </a:cubicBezTo>
                  <a:cubicBezTo>
                    <a:pt x="3810" y="6985"/>
                    <a:pt x="4445" y="5080"/>
                    <a:pt x="444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5" name="任意多边形: 形状 9884"/>
            <p:cNvSpPr/>
            <p:nvPr/>
          </p:nvSpPr>
          <p:spPr>
            <a:xfrm>
              <a:off x="10638790" y="1497965"/>
              <a:ext cx="6350" cy="6350"/>
            </a:xfrm>
            <a:custGeom>
              <a:avLst/>
              <a:gdLst>
                <a:gd name="connsiteX0" fmla="*/ 3175 w 6350"/>
                <a:gd name="connsiteY0" fmla="*/ 3175 h 6350"/>
                <a:gd name="connsiteX1" fmla="*/ 7620 w 6350"/>
                <a:gd name="connsiteY1" fmla="*/ 5080 h 6350"/>
                <a:gd name="connsiteX2" fmla="*/ 317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175"/>
                  </a:moveTo>
                  <a:cubicBezTo>
                    <a:pt x="4445" y="3810"/>
                    <a:pt x="6350" y="4445"/>
                    <a:pt x="7620" y="5080"/>
                  </a:cubicBezTo>
                  <a:cubicBezTo>
                    <a:pt x="6350" y="3810"/>
                    <a:pt x="5080" y="3175"/>
                    <a:pt x="317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6" name="任意多边形: 形状 9885"/>
            <p:cNvSpPr/>
            <p:nvPr/>
          </p:nvSpPr>
          <p:spPr>
            <a:xfrm>
              <a:off x="10609580" y="1491615"/>
              <a:ext cx="6350" cy="6350"/>
            </a:xfrm>
            <a:custGeom>
              <a:avLst/>
              <a:gdLst>
                <a:gd name="connsiteX0" fmla="*/ 3175 w 6350"/>
                <a:gd name="connsiteY0" fmla="*/ 3175 h 6350"/>
                <a:gd name="connsiteX1" fmla="*/ 5714 w 6350"/>
                <a:gd name="connsiteY1" fmla="*/ 3175 h 6350"/>
                <a:gd name="connsiteX2" fmla="*/ 317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175"/>
                  </a:moveTo>
                  <a:cubicBezTo>
                    <a:pt x="3810" y="3175"/>
                    <a:pt x="5080" y="3175"/>
                    <a:pt x="5714" y="3175"/>
                  </a:cubicBezTo>
                  <a:cubicBezTo>
                    <a:pt x="4445" y="3175"/>
                    <a:pt x="3810" y="3175"/>
                    <a:pt x="317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7" name="任意多边形: 形状 9886"/>
            <p:cNvSpPr/>
            <p:nvPr/>
          </p:nvSpPr>
          <p:spPr>
            <a:xfrm>
              <a:off x="10572115" y="1496060"/>
              <a:ext cx="6350" cy="6350"/>
            </a:xfrm>
            <a:custGeom>
              <a:avLst/>
              <a:gdLst>
                <a:gd name="connsiteX0" fmla="*/ 3175 w 6350"/>
                <a:gd name="connsiteY0" fmla="*/ 3810 h 6350"/>
                <a:gd name="connsiteX1" fmla="*/ 5080 w 6350"/>
                <a:gd name="connsiteY1" fmla="*/ 3175 h 6350"/>
                <a:gd name="connsiteX2" fmla="*/ 3175 w 6350"/>
                <a:gd name="connsiteY2" fmla="*/ 381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810"/>
                  </a:moveTo>
                  <a:cubicBezTo>
                    <a:pt x="3810" y="3810"/>
                    <a:pt x="4445" y="3175"/>
                    <a:pt x="5080" y="3175"/>
                  </a:cubicBezTo>
                  <a:cubicBezTo>
                    <a:pt x="4445" y="3810"/>
                    <a:pt x="3810" y="3810"/>
                    <a:pt x="3175" y="3810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8" name="任意多边形: 形状 9887"/>
            <p:cNvSpPr/>
            <p:nvPr/>
          </p:nvSpPr>
          <p:spPr>
            <a:xfrm>
              <a:off x="10595610" y="1491615"/>
              <a:ext cx="6350" cy="6350"/>
            </a:xfrm>
            <a:custGeom>
              <a:avLst/>
              <a:gdLst>
                <a:gd name="connsiteX0" fmla="*/ 3175 w 6350"/>
                <a:gd name="connsiteY0" fmla="*/ 3175 h 6350"/>
                <a:gd name="connsiteX1" fmla="*/ 6985 w 6350"/>
                <a:gd name="connsiteY1" fmla="*/ 3175 h 6350"/>
                <a:gd name="connsiteX2" fmla="*/ 317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175"/>
                  </a:moveTo>
                  <a:cubicBezTo>
                    <a:pt x="4445" y="3175"/>
                    <a:pt x="5715" y="3175"/>
                    <a:pt x="6985" y="3175"/>
                  </a:cubicBezTo>
                  <a:cubicBezTo>
                    <a:pt x="5715" y="3175"/>
                    <a:pt x="4445" y="3175"/>
                    <a:pt x="317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9" name="任意多边形: 形状 9888"/>
            <p:cNvSpPr/>
            <p:nvPr/>
          </p:nvSpPr>
          <p:spPr>
            <a:xfrm>
              <a:off x="10583545" y="1492885"/>
              <a:ext cx="6350" cy="6350"/>
            </a:xfrm>
            <a:custGeom>
              <a:avLst/>
              <a:gdLst>
                <a:gd name="connsiteX0" fmla="*/ 3175 w 6350"/>
                <a:gd name="connsiteY0" fmla="*/ 3810 h 6350"/>
                <a:gd name="connsiteX1" fmla="*/ 6986 w 6350"/>
                <a:gd name="connsiteY1" fmla="*/ 3175 h 6350"/>
                <a:gd name="connsiteX2" fmla="*/ 3175 w 6350"/>
                <a:gd name="connsiteY2" fmla="*/ 381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810"/>
                  </a:moveTo>
                  <a:cubicBezTo>
                    <a:pt x="4445" y="3810"/>
                    <a:pt x="5715" y="3175"/>
                    <a:pt x="6986" y="3175"/>
                  </a:cubicBezTo>
                  <a:cubicBezTo>
                    <a:pt x="5715" y="3175"/>
                    <a:pt x="4445" y="3810"/>
                    <a:pt x="3175" y="3810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0" name="任意多边形: 形状 9889"/>
            <p:cNvSpPr/>
            <p:nvPr/>
          </p:nvSpPr>
          <p:spPr>
            <a:xfrm>
              <a:off x="10654030" y="1503680"/>
              <a:ext cx="6350" cy="6350"/>
            </a:xfrm>
            <a:custGeom>
              <a:avLst/>
              <a:gdLst>
                <a:gd name="connsiteX0" fmla="*/ 3175 w 6350"/>
                <a:gd name="connsiteY0" fmla="*/ 3175 h 6350"/>
                <a:gd name="connsiteX1" fmla="*/ 7620 w 6350"/>
                <a:gd name="connsiteY1" fmla="*/ 5080 h 6350"/>
                <a:gd name="connsiteX2" fmla="*/ 317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175"/>
                  </a:moveTo>
                  <a:cubicBezTo>
                    <a:pt x="4445" y="3810"/>
                    <a:pt x="6350" y="4445"/>
                    <a:pt x="7620" y="5080"/>
                  </a:cubicBezTo>
                  <a:cubicBezTo>
                    <a:pt x="5714" y="3810"/>
                    <a:pt x="4445" y="3810"/>
                    <a:pt x="317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1" name="任意多边形: 形状 9890"/>
            <p:cNvSpPr/>
            <p:nvPr/>
          </p:nvSpPr>
          <p:spPr>
            <a:xfrm>
              <a:off x="10978515" y="2031365"/>
              <a:ext cx="6350" cy="6350"/>
            </a:xfrm>
            <a:custGeom>
              <a:avLst/>
              <a:gdLst>
                <a:gd name="connsiteX0" fmla="*/ 5715 w 6350"/>
                <a:gd name="connsiteY0" fmla="*/ 3175 h 6350"/>
                <a:gd name="connsiteX1" fmla="*/ 3175 w 6350"/>
                <a:gd name="connsiteY1" fmla="*/ 6350 h 6350"/>
                <a:gd name="connsiteX2" fmla="*/ 571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5715" y="3175"/>
                  </a:moveTo>
                  <a:cubicBezTo>
                    <a:pt x="5080" y="4445"/>
                    <a:pt x="3810" y="5715"/>
                    <a:pt x="3175" y="6350"/>
                  </a:cubicBezTo>
                  <a:cubicBezTo>
                    <a:pt x="4445" y="5715"/>
                    <a:pt x="5080" y="4445"/>
                    <a:pt x="571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2" name="任意多边形: 形状 9891"/>
            <p:cNvSpPr/>
            <p:nvPr/>
          </p:nvSpPr>
          <p:spPr>
            <a:xfrm>
              <a:off x="10444480" y="1527175"/>
              <a:ext cx="6350" cy="6350"/>
            </a:xfrm>
            <a:custGeom>
              <a:avLst/>
              <a:gdLst>
                <a:gd name="connsiteX0" fmla="*/ 7620 w 6350"/>
                <a:gd name="connsiteY0" fmla="*/ 3175 h 6350"/>
                <a:gd name="connsiteX1" fmla="*/ 3175 w 6350"/>
                <a:gd name="connsiteY1" fmla="*/ 4445 h 6350"/>
                <a:gd name="connsiteX2" fmla="*/ 7620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7620" y="3175"/>
                  </a:moveTo>
                  <a:cubicBezTo>
                    <a:pt x="6350" y="3175"/>
                    <a:pt x="5080" y="3810"/>
                    <a:pt x="3175" y="4445"/>
                  </a:cubicBezTo>
                  <a:cubicBezTo>
                    <a:pt x="5080" y="3810"/>
                    <a:pt x="6350" y="3175"/>
                    <a:pt x="7620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3" name="任意多边形: 形状 9892"/>
            <p:cNvSpPr/>
            <p:nvPr/>
          </p:nvSpPr>
          <p:spPr>
            <a:xfrm>
              <a:off x="10464800" y="1525905"/>
              <a:ext cx="6350" cy="6350"/>
            </a:xfrm>
            <a:custGeom>
              <a:avLst/>
              <a:gdLst>
                <a:gd name="connsiteX0" fmla="*/ 7620 w 6350"/>
                <a:gd name="connsiteY0" fmla="*/ 3175 h 6350"/>
                <a:gd name="connsiteX1" fmla="*/ 3175 w 6350"/>
                <a:gd name="connsiteY1" fmla="*/ 3175 h 6350"/>
                <a:gd name="connsiteX2" fmla="*/ 7620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7620" y="3175"/>
                  </a:moveTo>
                  <a:cubicBezTo>
                    <a:pt x="6350" y="3175"/>
                    <a:pt x="4445" y="3175"/>
                    <a:pt x="3175" y="3175"/>
                  </a:cubicBezTo>
                  <a:cubicBezTo>
                    <a:pt x="4445" y="3175"/>
                    <a:pt x="6350" y="3175"/>
                    <a:pt x="7620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4" name="任意多边形: 形状 9893"/>
            <p:cNvSpPr/>
            <p:nvPr/>
          </p:nvSpPr>
          <p:spPr>
            <a:xfrm>
              <a:off x="10454640" y="1525905"/>
              <a:ext cx="6350" cy="6350"/>
            </a:xfrm>
            <a:custGeom>
              <a:avLst/>
              <a:gdLst>
                <a:gd name="connsiteX0" fmla="*/ 3175 w 6350"/>
                <a:gd name="connsiteY0" fmla="*/ 3810 h 6350"/>
                <a:gd name="connsiteX1" fmla="*/ 7620 w 6350"/>
                <a:gd name="connsiteY1" fmla="*/ 3175 h 6350"/>
                <a:gd name="connsiteX2" fmla="*/ 3175 w 6350"/>
                <a:gd name="connsiteY2" fmla="*/ 381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3175" y="3810"/>
                  </a:moveTo>
                  <a:cubicBezTo>
                    <a:pt x="4445" y="3810"/>
                    <a:pt x="6350" y="3175"/>
                    <a:pt x="7620" y="3175"/>
                  </a:cubicBezTo>
                  <a:cubicBezTo>
                    <a:pt x="5715" y="3175"/>
                    <a:pt x="4445" y="3175"/>
                    <a:pt x="3175" y="3810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5" name="任意多边形: 形状 9894"/>
            <p:cNvSpPr/>
            <p:nvPr/>
          </p:nvSpPr>
          <p:spPr>
            <a:xfrm>
              <a:off x="10436225" y="1529715"/>
              <a:ext cx="6350" cy="6350"/>
            </a:xfrm>
            <a:custGeom>
              <a:avLst/>
              <a:gdLst>
                <a:gd name="connsiteX0" fmla="*/ 6985 w 6350"/>
                <a:gd name="connsiteY0" fmla="*/ 3175 h 6350"/>
                <a:gd name="connsiteX1" fmla="*/ 3175 w 6350"/>
                <a:gd name="connsiteY1" fmla="*/ 5080 h 6350"/>
                <a:gd name="connsiteX2" fmla="*/ 6985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6985" y="3175"/>
                  </a:moveTo>
                  <a:cubicBezTo>
                    <a:pt x="5715" y="3810"/>
                    <a:pt x="4445" y="4445"/>
                    <a:pt x="3175" y="5080"/>
                  </a:cubicBezTo>
                  <a:cubicBezTo>
                    <a:pt x="3810" y="4445"/>
                    <a:pt x="5080" y="3810"/>
                    <a:pt x="6985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6" name="任意多边形: 形状 9895"/>
            <p:cNvSpPr/>
            <p:nvPr/>
          </p:nvSpPr>
          <p:spPr>
            <a:xfrm>
              <a:off x="10972800" y="2037080"/>
              <a:ext cx="6350" cy="6350"/>
            </a:xfrm>
            <a:custGeom>
              <a:avLst/>
              <a:gdLst>
                <a:gd name="connsiteX0" fmla="*/ 6350 w 6350"/>
                <a:gd name="connsiteY0" fmla="*/ 3175 h 6350"/>
                <a:gd name="connsiteX1" fmla="*/ 3175 w 6350"/>
                <a:gd name="connsiteY1" fmla="*/ 5715 h 6350"/>
                <a:gd name="connsiteX2" fmla="*/ 6350 w 6350"/>
                <a:gd name="connsiteY2" fmla="*/ 317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6350" y="3175"/>
                  </a:moveTo>
                  <a:cubicBezTo>
                    <a:pt x="5080" y="4445"/>
                    <a:pt x="4445" y="5080"/>
                    <a:pt x="3175" y="5715"/>
                  </a:cubicBezTo>
                  <a:cubicBezTo>
                    <a:pt x="4445" y="5080"/>
                    <a:pt x="5715" y="4445"/>
                    <a:pt x="6350" y="317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7" name="任意多边形: 形状 9896"/>
            <p:cNvSpPr/>
            <p:nvPr/>
          </p:nvSpPr>
          <p:spPr>
            <a:xfrm>
              <a:off x="10499090" y="1533525"/>
              <a:ext cx="6350" cy="6350"/>
            </a:xfrm>
            <a:custGeom>
              <a:avLst/>
              <a:gdLst>
                <a:gd name="connsiteX0" fmla="*/ 7620 w 6350"/>
                <a:gd name="connsiteY0" fmla="*/ 5080 h 6350"/>
                <a:gd name="connsiteX1" fmla="*/ 3175 w 6350"/>
                <a:gd name="connsiteY1" fmla="*/ 3175 h 6350"/>
                <a:gd name="connsiteX2" fmla="*/ 7620 w 6350"/>
                <a:gd name="connsiteY2" fmla="*/ 508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7620" y="5080"/>
                  </a:moveTo>
                  <a:cubicBezTo>
                    <a:pt x="6350" y="4445"/>
                    <a:pt x="5080" y="3810"/>
                    <a:pt x="3175" y="3175"/>
                  </a:cubicBezTo>
                  <a:cubicBezTo>
                    <a:pt x="4445" y="4445"/>
                    <a:pt x="6350" y="4445"/>
                    <a:pt x="7620" y="5080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8" name="任意多边形: 形状 9897"/>
            <p:cNvSpPr/>
            <p:nvPr/>
          </p:nvSpPr>
          <p:spPr>
            <a:xfrm>
              <a:off x="10475595" y="1527175"/>
              <a:ext cx="6350" cy="6350"/>
            </a:xfrm>
            <a:custGeom>
              <a:avLst/>
              <a:gdLst>
                <a:gd name="connsiteX0" fmla="*/ 7620 w 6350"/>
                <a:gd name="connsiteY0" fmla="*/ 3810 h 6350"/>
                <a:gd name="connsiteX1" fmla="*/ 3175 w 6350"/>
                <a:gd name="connsiteY1" fmla="*/ 3175 h 6350"/>
                <a:gd name="connsiteX2" fmla="*/ 7620 w 6350"/>
                <a:gd name="connsiteY2" fmla="*/ 381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7620" y="3810"/>
                  </a:moveTo>
                  <a:cubicBezTo>
                    <a:pt x="6350" y="3175"/>
                    <a:pt x="4445" y="3175"/>
                    <a:pt x="3175" y="3175"/>
                  </a:cubicBezTo>
                  <a:cubicBezTo>
                    <a:pt x="4445" y="3175"/>
                    <a:pt x="6350" y="3175"/>
                    <a:pt x="7620" y="3810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9" name="任意多边形: 形状 9898"/>
            <p:cNvSpPr/>
            <p:nvPr/>
          </p:nvSpPr>
          <p:spPr>
            <a:xfrm>
              <a:off x="10487025" y="1529715"/>
              <a:ext cx="6350" cy="6350"/>
            </a:xfrm>
            <a:custGeom>
              <a:avLst/>
              <a:gdLst>
                <a:gd name="connsiteX0" fmla="*/ 7620 w 6350"/>
                <a:gd name="connsiteY0" fmla="*/ 4445 h 6350"/>
                <a:gd name="connsiteX1" fmla="*/ 3175 w 6350"/>
                <a:gd name="connsiteY1" fmla="*/ 3175 h 6350"/>
                <a:gd name="connsiteX2" fmla="*/ 7620 w 6350"/>
                <a:gd name="connsiteY2" fmla="*/ 4445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" h="6350">
                  <a:moveTo>
                    <a:pt x="7620" y="4445"/>
                  </a:moveTo>
                  <a:cubicBezTo>
                    <a:pt x="6350" y="3810"/>
                    <a:pt x="4445" y="3810"/>
                    <a:pt x="3175" y="3175"/>
                  </a:cubicBezTo>
                  <a:cubicBezTo>
                    <a:pt x="4445" y="3810"/>
                    <a:pt x="6350" y="3810"/>
                    <a:pt x="7620" y="4445"/>
                  </a:cubicBezTo>
                  <a:close/>
                </a:path>
              </a:pathLst>
            </a:custGeom>
            <a:solidFill>
              <a:srgbClr val="80B0D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0" name="任意多边形: 形状 9899"/>
            <p:cNvSpPr/>
            <p:nvPr/>
          </p:nvSpPr>
          <p:spPr>
            <a:xfrm>
              <a:off x="11188382" y="770051"/>
              <a:ext cx="476250" cy="577850"/>
            </a:xfrm>
            <a:custGeom>
              <a:avLst/>
              <a:gdLst>
                <a:gd name="connsiteX0" fmla="*/ 413068 w 476250"/>
                <a:gd name="connsiteY0" fmla="*/ 361519 h 577850"/>
                <a:gd name="connsiteX1" fmla="*/ 297498 w 476250"/>
                <a:gd name="connsiteY1" fmla="*/ 186894 h 577850"/>
                <a:gd name="connsiteX2" fmla="*/ 279718 w 476250"/>
                <a:gd name="connsiteY2" fmla="*/ 178639 h 577850"/>
                <a:gd name="connsiteX3" fmla="*/ 150813 w 476250"/>
                <a:gd name="connsiteY3" fmla="*/ 26239 h 577850"/>
                <a:gd name="connsiteX4" fmla="*/ 39053 w 476250"/>
                <a:gd name="connsiteY4" fmla="*/ 15444 h 577850"/>
                <a:gd name="connsiteX5" fmla="*/ 4763 w 476250"/>
                <a:gd name="connsiteY5" fmla="*/ 35129 h 577850"/>
                <a:gd name="connsiteX6" fmla="*/ 5398 w 476250"/>
                <a:gd name="connsiteY6" fmla="*/ 34494 h 577850"/>
                <a:gd name="connsiteX7" fmla="*/ 15558 w 476250"/>
                <a:gd name="connsiteY7" fmla="*/ 29414 h 577850"/>
                <a:gd name="connsiteX8" fmla="*/ 17463 w 476250"/>
                <a:gd name="connsiteY8" fmla="*/ 28779 h 577850"/>
                <a:gd name="connsiteX9" fmla="*/ 26988 w 476250"/>
                <a:gd name="connsiteY9" fmla="*/ 26239 h 577850"/>
                <a:gd name="connsiteX10" fmla="*/ 30798 w 476250"/>
                <a:gd name="connsiteY10" fmla="*/ 25604 h 577850"/>
                <a:gd name="connsiteX11" fmla="*/ 39053 w 476250"/>
                <a:gd name="connsiteY11" fmla="*/ 24334 h 577850"/>
                <a:gd name="connsiteX12" fmla="*/ 42863 w 476250"/>
                <a:gd name="connsiteY12" fmla="*/ 24334 h 577850"/>
                <a:gd name="connsiteX13" fmla="*/ 53023 w 476250"/>
                <a:gd name="connsiteY13" fmla="*/ 24334 h 577850"/>
                <a:gd name="connsiteX14" fmla="*/ 55563 w 476250"/>
                <a:gd name="connsiteY14" fmla="*/ 24334 h 577850"/>
                <a:gd name="connsiteX15" fmla="*/ 68898 w 476250"/>
                <a:gd name="connsiteY15" fmla="*/ 26239 h 577850"/>
                <a:gd name="connsiteX16" fmla="*/ 72708 w 476250"/>
                <a:gd name="connsiteY16" fmla="*/ 26874 h 577850"/>
                <a:gd name="connsiteX17" fmla="*/ 82868 w 476250"/>
                <a:gd name="connsiteY17" fmla="*/ 30049 h 577850"/>
                <a:gd name="connsiteX18" fmla="*/ 87313 w 476250"/>
                <a:gd name="connsiteY18" fmla="*/ 31954 h 577850"/>
                <a:gd name="connsiteX19" fmla="*/ 97473 w 476250"/>
                <a:gd name="connsiteY19" fmla="*/ 35764 h 577850"/>
                <a:gd name="connsiteX20" fmla="*/ 101918 w 476250"/>
                <a:gd name="connsiteY20" fmla="*/ 37669 h 577850"/>
                <a:gd name="connsiteX21" fmla="*/ 116523 w 476250"/>
                <a:gd name="connsiteY21" fmla="*/ 45289 h 577850"/>
                <a:gd name="connsiteX22" fmla="*/ 245428 w 476250"/>
                <a:gd name="connsiteY22" fmla="*/ 197689 h 577850"/>
                <a:gd name="connsiteX23" fmla="*/ 263208 w 476250"/>
                <a:gd name="connsiteY23" fmla="*/ 205944 h 577850"/>
                <a:gd name="connsiteX24" fmla="*/ 378778 w 476250"/>
                <a:gd name="connsiteY24" fmla="*/ 380569 h 577850"/>
                <a:gd name="connsiteX25" fmla="*/ 438468 w 476250"/>
                <a:gd name="connsiteY25" fmla="*/ 515824 h 577850"/>
                <a:gd name="connsiteX26" fmla="*/ 437833 w 476250"/>
                <a:gd name="connsiteY26" fmla="*/ 526619 h 577850"/>
                <a:gd name="connsiteX27" fmla="*/ 437198 w 476250"/>
                <a:gd name="connsiteY27" fmla="*/ 529794 h 577850"/>
                <a:gd name="connsiteX28" fmla="*/ 435928 w 476250"/>
                <a:gd name="connsiteY28" fmla="*/ 536779 h 577850"/>
                <a:gd name="connsiteX29" fmla="*/ 435293 w 476250"/>
                <a:gd name="connsiteY29" fmla="*/ 539954 h 577850"/>
                <a:gd name="connsiteX30" fmla="*/ 434023 w 476250"/>
                <a:gd name="connsiteY30" fmla="*/ 545669 h 577850"/>
                <a:gd name="connsiteX31" fmla="*/ 432753 w 476250"/>
                <a:gd name="connsiteY31" fmla="*/ 548844 h 577850"/>
                <a:gd name="connsiteX32" fmla="*/ 430848 w 476250"/>
                <a:gd name="connsiteY32" fmla="*/ 553289 h 577850"/>
                <a:gd name="connsiteX33" fmla="*/ 428943 w 476250"/>
                <a:gd name="connsiteY33" fmla="*/ 556464 h 577850"/>
                <a:gd name="connsiteX34" fmla="*/ 426403 w 476250"/>
                <a:gd name="connsiteY34" fmla="*/ 560274 h 577850"/>
                <a:gd name="connsiteX35" fmla="*/ 424498 w 476250"/>
                <a:gd name="connsiteY35" fmla="*/ 562814 h 577850"/>
                <a:gd name="connsiteX36" fmla="*/ 421958 w 476250"/>
                <a:gd name="connsiteY36" fmla="*/ 565989 h 577850"/>
                <a:gd name="connsiteX37" fmla="*/ 419418 w 476250"/>
                <a:gd name="connsiteY37" fmla="*/ 568529 h 577850"/>
                <a:gd name="connsiteX38" fmla="*/ 416243 w 476250"/>
                <a:gd name="connsiteY38" fmla="*/ 571069 h 577850"/>
                <a:gd name="connsiteX39" fmla="*/ 413703 w 476250"/>
                <a:gd name="connsiteY39" fmla="*/ 572974 h 577850"/>
                <a:gd name="connsiteX40" fmla="*/ 410528 w 476250"/>
                <a:gd name="connsiteY40" fmla="*/ 574879 h 577850"/>
                <a:gd name="connsiteX41" fmla="*/ 444818 w 476250"/>
                <a:gd name="connsiteY41" fmla="*/ 555194 h 577850"/>
                <a:gd name="connsiteX42" fmla="*/ 472123 w 476250"/>
                <a:gd name="connsiteY42" fmla="*/ 494869 h 577850"/>
                <a:gd name="connsiteX43" fmla="*/ 413068 w 476250"/>
                <a:gd name="connsiteY43" fmla="*/ 361519 h 57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76250" h="577850">
                  <a:moveTo>
                    <a:pt x="413068" y="361519"/>
                  </a:moveTo>
                  <a:cubicBezTo>
                    <a:pt x="401638" y="293574"/>
                    <a:pt x="354013" y="219279"/>
                    <a:pt x="297498" y="186894"/>
                  </a:cubicBezTo>
                  <a:cubicBezTo>
                    <a:pt x="291783" y="183719"/>
                    <a:pt x="285433" y="180544"/>
                    <a:pt x="279718" y="178639"/>
                  </a:cubicBezTo>
                  <a:cubicBezTo>
                    <a:pt x="251778" y="115139"/>
                    <a:pt x="204153" y="57354"/>
                    <a:pt x="150813" y="26239"/>
                  </a:cubicBezTo>
                  <a:cubicBezTo>
                    <a:pt x="106998" y="839"/>
                    <a:pt x="67628" y="-1066"/>
                    <a:pt x="39053" y="15444"/>
                  </a:cubicBezTo>
                  <a:lnTo>
                    <a:pt x="4763" y="35129"/>
                  </a:lnTo>
                  <a:cubicBezTo>
                    <a:pt x="4763" y="35129"/>
                    <a:pt x="5398" y="35129"/>
                    <a:pt x="5398" y="34494"/>
                  </a:cubicBezTo>
                  <a:cubicBezTo>
                    <a:pt x="8573" y="32589"/>
                    <a:pt x="11748" y="31319"/>
                    <a:pt x="15558" y="29414"/>
                  </a:cubicBezTo>
                  <a:cubicBezTo>
                    <a:pt x="16193" y="29414"/>
                    <a:pt x="16828" y="28779"/>
                    <a:pt x="17463" y="28779"/>
                  </a:cubicBezTo>
                  <a:cubicBezTo>
                    <a:pt x="20638" y="27509"/>
                    <a:pt x="23813" y="26874"/>
                    <a:pt x="26988" y="26239"/>
                  </a:cubicBezTo>
                  <a:cubicBezTo>
                    <a:pt x="28258" y="26239"/>
                    <a:pt x="29528" y="25604"/>
                    <a:pt x="30798" y="25604"/>
                  </a:cubicBezTo>
                  <a:cubicBezTo>
                    <a:pt x="33338" y="24969"/>
                    <a:pt x="36513" y="24969"/>
                    <a:pt x="39053" y="24334"/>
                  </a:cubicBezTo>
                  <a:cubicBezTo>
                    <a:pt x="40323" y="24334"/>
                    <a:pt x="41593" y="24334"/>
                    <a:pt x="42863" y="24334"/>
                  </a:cubicBezTo>
                  <a:cubicBezTo>
                    <a:pt x="46038" y="24334"/>
                    <a:pt x="49213" y="24334"/>
                    <a:pt x="53023" y="24334"/>
                  </a:cubicBezTo>
                  <a:cubicBezTo>
                    <a:pt x="53658" y="24334"/>
                    <a:pt x="54928" y="24334"/>
                    <a:pt x="55563" y="24334"/>
                  </a:cubicBezTo>
                  <a:cubicBezTo>
                    <a:pt x="60008" y="24969"/>
                    <a:pt x="64453" y="25604"/>
                    <a:pt x="68898" y="26239"/>
                  </a:cubicBezTo>
                  <a:cubicBezTo>
                    <a:pt x="70168" y="26239"/>
                    <a:pt x="71438" y="26874"/>
                    <a:pt x="72708" y="26874"/>
                  </a:cubicBezTo>
                  <a:cubicBezTo>
                    <a:pt x="75883" y="27509"/>
                    <a:pt x="79693" y="28779"/>
                    <a:pt x="82868" y="30049"/>
                  </a:cubicBezTo>
                  <a:cubicBezTo>
                    <a:pt x="84138" y="30684"/>
                    <a:pt x="86043" y="31319"/>
                    <a:pt x="87313" y="31954"/>
                  </a:cubicBezTo>
                  <a:cubicBezTo>
                    <a:pt x="90488" y="33224"/>
                    <a:pt x="94298" y="34494"/>
                    <a:pt x="97473" y="35764"/>
                  </a:cubicBezTo>
                  <a:cubicBezTo>
                    <a:pt x="98743" y="36399"/>
                    <a:pt x="100648" y="37034"/>
                    <a:pt x="101918" y="37669"/>
                  </a:cubicBezTo>
                  <a:cubicBezTo>
                    <a:pt x="106998" y="40209"/>
                    <a:pt x="111443" y="42749"/>
                    <a:pt x="116523" y="45289"/>
                  </a:cubicBezTo>
                  <a:cubicBezTo>
                    <a:pt x="169863" y="76404"/>
                    <a:pt x="217488" y="134189"/>
                    <a:pt x="245428" y="197689"/>
                  </a:cubicBezTo>
                  <a:cubicBezTo>
                    <a:pt x="251143" y="200229"/>
                    <a:pt x="256858" y="202769"/>
                    <a:pt x="263208" y="205944"/>
                  </a:cubicBezTo>
                  <a:cubicBezTo>
                    <a:pt x="320358" y="238964"/>
                    <a:pt x="367983" y="312624"/>
                    <a:pt x="378778" y="380569"/>
                  </a:cubicBezTo>
                  <a:cubicBezTo>
                    <a:pt x="413703" y="416764"/>
                    <a:pt x="438468" y="470104"/>
                    <a:pt x="438468" y="515824"/>
                  </a:cubicBezTo>
                  <a:cubicBezTo>
                    <a:pt x="438468" y="519634"/>
                    <a:pt x="438468" y="522809"/>
                    <a:pt x="437833" y="526619"/>
                  </a:cubicBezTo>
                  <a:cubicBezTo>
                    <a:pt x="437833" y="527889"/>
                    <a:pt x="437198" y="528524"/>
                    <a:pt x="437198" y="529794"/>
                  </a:cubicBezTo>
                  <a:cubicBezTo>
                    <a:pt x="437198" y="532334"/>
                    <a:pt x="436563" y="534239"/>
                    <a:pt x="435928" y="536779"/>
                  </a:cubicBezTo>
                  <a:cubicBezTo>
                    <a:pt x="435928" y="538049"/>
                    <a:pt x="435293" y="539319"/>
                    <a:pt x="435293" y="539954"/>
                  </a:cubicBezTo>
                  <a:cubicBezTo>
                    <a:pt x="434658" y="541859"/>
                    <a:pt x="434658" y="543764"/>
                    <a:pt x="434023" y="545669"/>
                  </a:cubicBezTo>
                  <a:cubicBezTo>
                    <a:pt x="433388" y="546939"/>
                    <a:pt x="433388" y="548209"/>
                    <a:pt x="432753" y="548844"/>
                  </a:cubicBezTo>
                  <a:cubicBezTo>
                    <a:pt x="432118" y="550114"/>
                    <a:pt x="431483" y="552019"/>
                    <a:pt x="430848" y="553289"/>
                  </a:cubicBezTo>
                  <a:cubicBezTo>
                    <a:pt x="430213" y="554559"/>
                    <a:pt x="429578" y="555194"/>
                    <a:pt x="428943" y="556464"/>
                  </a:cubicBezTo>
                  <a:cubicBezTo>
                    <a:pt x="428308" y="557734"/>
                    <a:pt x="427673" y="559004"/>
                    <a:pt x="426403" y="560274"/>
                  </a:cubicBezTo>
                  <a:cubicBezTo>
                    <a:pt x="425768" y="561544"/>
                    <a:pt x="425133" y="562179"/>
                    <a:pt x="424498" y="562814"/>
                  </a:cubicBezTo>
                  <a:cubicBezTo>
                    <a:pt x="423863" y="564084"/>
                    <a:pt x="422593" y="565354"/>
                    <a:pt x="421958" y="565989"/>
                  </a:cubicBezTo>
                  <a:cubicBezTo>
                    <a:pt x="421323" y="566624"/>
                    <a:pt x="420053" y="567259"/>
                    <a:pt x="419418" y="568529"/>
                  </a:cubicBezTo>
                  <a:cubicBezTo>
                    <a:pt x="418148" y="569799"/>
                    <a:pt x="417513" y="570434"/>
                    <a:pt x="416243" y="571069"/>
                  </a:cubicBezTo>
                  <a:cubicBezTo>
                    <a:pt x="415608" y="571704"/>
                    <a:pt x="414338" y="572339"/>
                    <a:pt x="413703" y="572974"/>
                  </a:cubicBezTo>
                  <a:cubicBezTo>
                    <a:pt x="412433" y="573609"/>
                    <a:pt x="411798" y="574244"/>
                    <a:pt x="410528" y="574879"/>
                  </a:cubicBezTo>
                  <a:lnTo>
                    <a:pt x="444818" y="555194"/>
                  </a:lnTo>
                  <a:cubicBezTo>
                    <a:pt x="461963" y="545669"/>
                    <a:pt x="472123" y="524714"/>
                    <a:pt x="472123" y="494869"/>
                  </a:cubicBezTo>
                  <a:cubicBezTo>
                    <a:pt x="472758" y="451054"/>
                    <a:pt x="447993" y="397714"/>
                    <a:pt x="413068" y="361519"/>
                  </a:cubicBezTo>
                  <a:close/>
                </a:path>
              </a:pathLst>
            </a:custGeom>
            <a:solidFill>
              <a:srgbClr val="B2B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1" name="任意多边形: 形状 9900"/>
            <p:cNvSpPr/>
            <p:nvPr/>
          </p:nvSpPr>
          <p:spPr>
            <a:xfrm>
              <a:off x="11023282" y="791528"/>
              <a:ext cx="603250" cy="565150"/>
            </a:xfrm>
            <a:custGeom>
              <a:avLst/>
              <a:gdLst>
                <a:gd name="connsiteX0" fmla="*/ 584518 w 603250"/>
                <a:gd name="connsiteY0" fmla="*/ 548958 h 565150"/>
                <a:gd name="connsiteX1" fmla="*/ 587058 w 603250"/>
                <a:gd name="connsiteY1" fmla="*/ 546418 h 565150"/>
                <a:gd name="connsiteX2" fmla="*/ 589598 w 603250"/>
                <a:gd name="connsiteY2" fmla="*/ 543243 h 565150"/>
                <a:gd name="connsiteX3" fmla="*/ 591503 w 603250"/>
                <a:gd name="connsiteY3" fmla="*/ 540703 h 565150"/>
                <a:gd name="connsiteX4" fmla="*/ 594043 w 603250"/>
                <a:gd name="connsiteY4" fmla="*/ 536893 h 565150"/>
                <a:gd name="connsiteX5" fmla="*/ 595948 w 603250"/>
                <a:gd name="connsiteY5" fmla="*/ 533718 h 565150"/>
                <a:gd name="connsiteX6" fmla="*/ 597853 w 603250"/>
                <a:gd name="connsiteY6" fmla="*/ 529273 h 565150"/>
                <a:gd name="connsiteX7" fmla="*/ 599123 w 603250"/>
                <a:gd name="connsiteY7" fmla="*/ 526098 h 565150"/>
                <a:gd name="connsiteX8" fmla="*/ 600393 w 603250"/>
                <a:gd name="connsiteY8" fmla="*/ 520383 h 565150"/>
                <a:gd name="connsiteX9" fmla="*/ 601028 w 603250"/>
                <a:gd name="connsiteY9" fmla="*/ 517208 h 565150"/>
                <a:gd name="connsiteX10" fmla="*/ 602298 w 603250"/>
                <a:gd name="connsiteY10" fmla="*/ 510223 h 565150"/>
                <a:gd name="connsiteX11" fmla="*/ 602933 w 603250"/>
                <a:gd name="connsiteY11" fmla="*/ 507048 h 565150"/>
                <a:gd name="connsiteX12" fmla="*/ 603568 w 603250"/>
                <a:gd name="connsiteY12" fmla="*/ 496253 h 565150"/>
                <a:gd name="connsiteX13" fmla="*/ 543878 w 603250"/>
                <a:gd name="connsiteY13" fmla="*/ 360998 h 565150"/>
                <a:gd name="connsiteX14" fmla="*/ 428308 w 603250"/>
                <a:gd name="connsiteY14" fmla="*/ 186372 h 565150"/>
                <a:gd name="connsiteX15" fmla="*/ 410528 w 603250"/>
                <a:gd name="connsiteY15" fmla="*/ 178117 h 565150"/>
                <a:gd name="connsiteX16" fmla="*/ 281623 w 603250"/>
                <a:gd name="connsiteY16" fmla="*/ 25717 h 565150"/>
                <a:gd name="connsiteX17" fmla="*/ 267018 w 603250"/>
                <a:gd name="connsiteY17" fmla="*/ 18097 h 565150"/>
                <a:gd name="connsiteX18" fmla="*/ 262573 w 603250"/>
                <a:gd name="connsiteY18" fmla="*/ 16192 h 565150"/>
                <a:gd name="connsiteX19" fmla="*/ 252413 w 603250"/>
                <a:gd name="connsiteY19" fmla="*/ 12382 h 565150"/>
                <a:gd name="connsiteX20" fmla="*/ 247968 w 603250"/>
                <a:gd name="connsiteY20" fmla="*/ 10478 h 565150"/>
                <a:gd name="connsiteX21" fmla="*/ 237808 w 603250"/>
                <a:gd name="connsiteY21" fmla="*/ 7303 h 565150"/>
                <a:gd name="connsiteX22" fmla="*/ 233998 w 603250"/>
                <a:gd name="connsiteY22" fmla="*/ 6667 h 565150"/>
                <a:gd name="connsiteX23" fmla="*/ 220663 w 603250"/>
                <a:gd name="connsiteY23" fmla="*/ 4763 h 565150"/>
                <a:gd name="connsiteX24" fmla="*/ 218123 w 603250"/>
                <a:gd name="connsiteY24" fmla="*/ 4763 h 565150"/>
                <a:gd name="connsiteX25" fmla="*/ 207963 w 603250"/>
                <a:gd name="connsiteY25" fmla="*/ 4763 h 565150"/>
                <a:gd name="connsiteX26" fmla="*/ 204153 w 603250"/>
                <a:gd name="connsiteY26" fmla="*/ 4763 h 565150"/>
                <a:gd name="connsiteX27" fmla="*/ 195898 w 603250"/>
                <a:gd name="connsiteY27" fmla="*/ 6032 h 565150"/>
                <a:gd name="connsiteX28" fmla="*/ 192088 w 603250"/>
                <a:gd name="connsiteY28" fmla="*/ 6667 h 565150"/>
                <a:gd name="connsiteX29" fmla="*/ 182563 w 603250"/>
                <a:gd name="connsiteY29" fmla="*/ 9207 h 565150"/>
                <a:gd name="connsiteX30" fmla="*/ 180658 w 603250"/>
                <a:gd name="connsiteY30" fmla="*/ 9842 h 565150"/>
                <a:gd name="connsiteX31" fmla="*/ 170498 w 603250"/>
                <a:gd name="connsiteY31" fmla="*/ 14922 h 565150"/>
                <a:gd name="connsiteX32" fmla="*/ 150178 w 603250"/>
                <a:gd name="connsiteY32" fmla="*/ 31433 h 565150"/>
                <a:gd name="connsiteX33" fmla="*/ 132398 w 603250"/>
                <a:gd name="connsiteY33" fmla="*/ 61278 h 565150"/>
                <a:gd name="connsiteX34" fmla="*/ 123508 w 603250"/>
                <a:gd name="connsiteY34" fmla="*/ 55562 h 565150"/>
                <a:gd name="connsiteX35" fmla="*/ 111443 w 603250"/>
                <a:gd name="connsiteY35" fmla="*/ 49212 h 565150"/>
                <a:gd name="connsiteX36" fmla="*/ 106998 w 603250"/>
                <a:gd name="connsiteY36" fmla="*/ 47308 h 565150"/>
                <a:gd name="connsiteX37" fmla="*/ 99378 w 603250"/>
                <a:gd name="connsiteY37" fmla="*/ 44133 h 565150"/>
                <a:gd name="connsiteX38" fmla="*/ 94933 w 603250"/>
                <a:gd name="connsiteY38" fmla="*/ 42862 h 565150"/>
                <a:gd name="connsiteX39" fmla="*/ 87948 w 603250"/>
                <a:gd name="connsiteY39" fmla="*/ 40958 h 565150"/>
                <a:gd name="connsiteX40" fmla="*/ 83503 w 603250"/>
                <a:gd name="connsiteY40" fmla="*/ 40322 h 565150"/>
                <a:gd name="connsiteX41" fmla="*/ 77153 w 603250"/>
                <a:gd name="connsiteY41" fmla="*/ 39053 h 565150"/>
                <a:gd name="connsiteX42" fmla="*/ 72708 w 603250"/>
                <a:gd name="connsiteY42" fmla="*/ 39053 h 565150"/>
                <a:gd name="connsiteX43" fmla="*/ 66993 w 603250"/>
                <a:gd name="connsiteY43" fmla="*/ 39053 h 565150"/>
                <a:gd name="connsiteX44" fmla="*/ 62548 w 603250"/>
                <a:gd name="connsiteY44" fmla="*/ 39687 h 565150"/>
                <a:gd name="connsiteX45" fmla="*/ 57468 w 603250"/>
                <a:gd name="connsiteY45" fmla="*/ 40322 h 565150"/>
                <a:gd name="connsiteX46" fmla="*/ 53023 w 603250"/>
                <a:gd name="connsiteY46" fmla="*/ 41592 h 565150"/>
                <a:gd name="connsiteX47" fmla="*/ 47943 w 603250"/>
                <a:gd name="connsiteY47" fmla="*/ 42862 h 565150"/>
                <a:gd name="connsiteX48" fmla="*/ 44133 w 603250"/>
                <a:gd name="connsiteY48" fmla="*/ 44767 h 565150"/>
                <a:gd name="connsiteX49" fmla="*/ 39688 w 603250"/>
                <a:gd name="connsiteY49" fmla="*/ 46672 h 565150"/>
                <a:gd name="connsiteX50" fmla="*/ 4763 w 603250"/>
                <a:gd name="connsiteY50" fmla="*/ 122872 h 565150"/>
                <a:gd name="connsiteX51" fmla="*/ 123508 w 603250"/>
                <a:gd name="connsiteY51" fmla="*/ 327978 h 565150"/>
                <a:gd name="connsiteX52" fmla="*/ 508953 w 603250"/>
                <a:gd name="connsiteY52" fmla="*/ 550862 h 565150"/>
                <a:gd name="connsiteX53" fmla="*/ 578803 w 603250"/>
                <a:gd name="connsiteY53" fmla="*/ 555308 h 565150"/>
                <a:gd name="connsiteX54" fmla="*/ 581343 w 603250"/>
                <a:gd name="connsiteY54" fmla="*/ 553403 h 565150"/>
                <a:gd name="connsiteX55" fmla="*/ 584518 w 603250"/>
                <a:gd name="connsiteY55" fmla="*/ 548958 h 56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603250" h="565150">
                  <a:moveTo>
                    <a:pt x="584518" y="548958"/>
                  </a:moveTo>
                  <a:cubicBezTo>
                    <a:pt x="585153" y="548323"/>
                    <a:pt x="586423" y="547687"/>
                    <a:pt x="587058" y="546418"/>
                  </a:cubicBezTo>
                  <a:cubicBezTo>
                    <a:pt x="587693" y="545148"/>
                    <a:pt x="588963" y="543878"/>
                    <a:pt x="589598" y="543243"/>
                  </a:cubicBezTo>
                  <a:cubicBezTo>
                    <a:pt x="590233" y="542608"/>
                    <a:pt x="590868" y="541337"/>
                    <a:pt x="591503" y="540703"/>
                  </a:cubicBezTo>
                  <a:cubicBezTo>
                    <a:pt x="592138" y="539433"/>
                    <a:pt x="592773" y="538162"/>
                    <a:pt x="594043" y="536893"/>
                  </a:cubicBezTo>
                  <a:cubicBezTo>
                    <a:pt x="594678" y="535623"/>
                    <a:pt x="595313" y="534987"/>
                    <a:pt x="595948" y="533718"/>
                  </a:cubicBezTo>
                  <a:cubicBezTo>
                    <a:pt x="596583" y="532448"/>
                    <a:pt x="597218" y="530543"/>
                    <a:pt x="597853" y="529273"/>
                  </a:cubicBezTo>
                  <a:cubicBezTo>
                    <a:pt x="598488" y="528003"/>
                    <a:pt x="598488" y="527368"/>
                    <a:pt x="599123" y="526098"/>
                  </a:cubicBezTo>
                  <a:cubicBezTo>
                    <a:pt x="599758" y="524192"/>
                    <a:pt x="600393" y="522287"/>
                    <a:pt x="600393" y="520383"/>
                  </a:cubicBezTo>
                  <a:cubicBezTo>
                    <a:pt x="600393" y="519112"/>
                    <a:pt x="601028" y="517842"/>
                    <a:pt x="601028" y="517208"/>
                  </a:cubicBezTo>
                  <a:cubicBezTo>
                    <a:pt x="601663" y="515303"/>
                    <a:pt x="601663" y="512762"/>
                    <a:pt x="602298" y="510223"/>
                  </a:cubicBezTo>
                  <a:cubicBezTo>
                    <a:pt x="602298" y="508953"/>
                    <a:pt x="602933" y="508317"/>
                    <a:pt x="602933" y="507048"/>
                  </a:cubicBezTo>
                  <a:cubicBezTo>
                    <a:pt x="603568" y="503873"/>
                    <a:pt x="603568" y="500062"/>
                    <a:pt x="603568" y="496253"/>
                  </a:cubicBezTo>
                  <a:cubicBezTo>
                    <a:pt x="603568" y="450533"/>
                    <a:pt x="578803" y="397192"/>
                    <a:pt x="543878" y="360998"/>
                  </a:cubicBezTo>
                  <a:cubicBezTo>
                    <a:pt x="532448" y="293053"/>
                    <a:pt x="484823" y="218758"/>
                    <a:pt x="428308" y="186372"/>
                  </a:cubicBezTo>
                  <a:cubicBezTo>
                    <a:pt x="422593" y="183197"/>
                    <a:pt x="416243" y="180022"/>
                    <a:pt x="410528" y="178117"/>
                  </a:cubicBezTo>
                  <a:cubicBezTo>
                    <a:pt x="382588" y="114617"/>
                    <a:pt x="334963" y="56833"/>
                    <a:pt x="281623" y="25717"/>
                  </a:cubicBezTo>
                  <a:cubicBezTo>
                    <a:pt x="276543" y="22542"/>
                    <a:pt x="271463" y="20638"/>
                    <a:pt x="267018" y="18097"/>
                  </a:cubicBezTo>
                  <a:cubicBezTo>
                    <a:pt x="265748" y="17463"/>
                    <a:pt x="263843" y="16828"/>
                    <a:pt x="262573" y="16192"/>
                  </a:cubicBezTo>
                  <a:cubicBezTo>
                    <a:pt x="259398" y="14922"/>
                    <a:pt x="255588" y="13653"/>
                    <a:pt x="252413" y="12382"/>
                  </a:cubicBezTo>
                  <a:cubicBezTo>
                    <a:pt x="251143" y="11747"/>
                    <a:pt x="249238" y="11113"/>
                    <a:pt x="247968" y="10478"/>
                  </a:cubicBezTo>
                  <a:cubicBezTo>
                    <a:pt x="244793" y="9207"/>
                    <a:pt x="240983" y="8572"/>
                    <a:pt x="237808" y="7303"/>
                  </a:cubicBezTo>
                  <a:cubicBezTo>
                    <a:pt x="236538" y="7303"/>
                    <a:pt x="235268" y="6667"/>
                    <a:pt x="233998" y="6667"/>
                  </a:cubicBezTo>
                  <a:cubicBezTo>
                    <a:pt x="229553" y="6032"/>
                    <a:pt x="225108" y="4763"/>
                    <a:pt x="220663" y="4763"/>
                  </a:cubicBezTo>
                  <a:cubicBezTo>
                    <a:pt x="220028" y="4763"/>
                    <a:pt x="218758" y="4763"/>
                    <a:pt x="218123" y="4763"/>
                  </a:cubicBezTo>
                  <a:cubicBezTo>
                    <a:pt x="214948" y="4763"/>
                    <a:pt x="211138" y="4763"/>
                    <a:pt x="207963" y="4763"/>
                  </a:cubicBezTo>
                  <a:cubicBezTo>
                    <a:pt x="206693" y="4763"/>
                    <a:pt x="205423" y="4763"/>
                    <a:pt x="204153" y="4763"/>
                  </a:cubicBezTo>
                  <a:cubicBezTo>
                    <a:pt x="201613" y="4763"/>
                    <a:pt x="198438" y="5397"/>
                    <a:pt x="195898" y="6032"/>
                  </a:cubicBezTo>
                  <a:cubicBezTo>
                    <a:pt x="194628" y="6032"/>
                    <a:pt x="193358" y="6667"/>
                    <a:pt x="192088" y="6667"/>
                  </a:cubicBezTo>
                  <a:cubicBezTo>
                    <a:pt x="188913" y="7303"/>
                    <a:pt x="185738" y="8572"/>
                    <a:pt x="182563" y="9207"/>
                  </a:cubicBezTo>
                  <a:cubicBezTo>
                    <a:pt x="181928" y="9207"/>
                    <a:pt x="181293" y="9207"/>
                    <a:pt x="180658" y="9842"/>
                  </a:cubicBezTo>
                  <a:cubicBezTo>
                    <a:pt x="176848" y="11113"/>
                    <a:pt x="173673" y="13017"/>
                    <a:pt x="170498" y="14922"/>
                  </a:cubicBezTo>
                  <a:cubicBezTo>
                    <a:pt x="162878" y="19367"/>
                    <a:pt x="156528" y="24447"/>
                    <a:pt x="150178" y="31433"/>
                  </a:cubicBezTo>
                  <a:cubicBezTo>
                    <a:pt x="143193" y="39687"/>
                    <a:pt x="136843" y="49212"/>
                    <a:pt x="132398" y="61278"/>
                  </a:cubicBezTo>
                  <a:cubicBezTo>
                    <a:pt x="129223" y="59372"/>
                    <a:pt x="126683" y="57467"/>
                    <a:pt x="123508" y="55562"/>
                  </a:cubicBezTo>
                  <a:cubicBezTo>
                    <a:pt x="119698" y="53022"/>
                    <a:pt x="115253" y="51117"/>
                    <a:pt x="111443" y="49212"/>
                  </a:cubicBezTo>
                  <a:cubicBezTo>
                    <a:pt x="110173" y="48578"/>
                    <a:pt x="108903" y="47942"/>
                    <a:pt x="106998" y="47308"/>
                  </a:cubicBezTo>
                  <a:cubicBezTo>
                    <a:pt x="104458" y="46037"/>
                    <a:pt x="101918" y="45403"/>
                    <a:pt x="99378" y="44133"/>
                  </a:cubicBezTo>
                  <a:cubicBezTo>
                    <a:pt x="98108" y="43497"/>
                    <a:pt x="96203" y="43497"/>
                    <a:pt x="94933" y="42862"/>
                  </a:cubicBezTo>
                  <a:cubicBezTo>
                    <a:pt x="92393" y="42228"/>
                    <a:pt x="90488" y="41592"/>
                    <a:pt x="87948" y="40958"/>
                  </a:cubicBezTo>
                  <a:cubicBezTo>
                    <a:pt x="86678" y="40322"/>
                    <a:pt x="84773" y="40322"/>
                    <a:pt x="83503" y="40322"/>
                  </a:cubicBezTo>
                  <a:cubicBezTo>
                    <a:pt x="81598" y="39687"/>
                    <a:pt x="79058" y="39687"/>
                    <a:pt x="77153" y="39053"/>
                  </a:cubicBezTo>
                  <a:cubicBezTo>
                    <a:pt x="75883" y="39053"/>
                    <a:pt x="73978" y="39053"/>
                    <a:pt x="72708" y="39053"/>
                  </a:cubicBezTo>
                  <a:cubicBezTo>
                    <a:pt x="70803" y="39053"/>
                    <a:pt x="68898" y="39053"/>
                    <a:pt x="66993" y="39053"/>
                  </a:cubicBezTo>
                  <a:cubicBezTo>
                    <a:pt x="65723" y="39053"/>
                    <a:pt x="63818" y="39687"/>
                    <a:pt x="62548" y="39687"/>
                  </a:cubicBezTo>
                  <a:cubicBezTo>
                    <a:pt x="60643" y="39687"/>
                    <a:pt x="58738" y="40322"/>
                    <a:pt x="57468" y="40322"/>
                  </a:cubicBezTo>
                  <a:cubicBezTo>
                    <a:pt x="56198" y="40322"/>
                    <a:pt x="54928" y="40958"/>
                    <a:pt x="53023" y="41592"/>
                  </a:cubicBezTo>
                  <a:cubicBezTo>
                    <a:pt x="51118" y="42228"/>
                    <a:pt x="49848" y="42228"/>
                    <a:pt x="47943" y="42862"/>
                  </a:cubicBezTo>
                  <a:cubicBezTo>
                    <a:pt x="46673" y="43497"/>
                    <a:pt x="45403" y="44133"/>
                    <a:pt x="44133" y="44767"/>
                  </a:cubicBezTo>
                  <a:cubicBezTo>
                    <a:pt x="42863" y="45403"/>
                    <a:pt x="40958" y="46037"/>
                    <a:pt x="39688" y="46672"/>
                  </a:cubicBezTo>
                  <a:cubicBezTo>
                    <a:pt x="18098" y="58737"/>
                    <a:pt x="4763" y="85408"/>
                    <a:pt x="4763" y="122872"/>
                  </a:cubicBezTo>
                  <a:cubicBezTo>
                    <a:pt x="4763" y="198437"/>
                    <a:pt x="57468" y="289878"/>
                    <a:pt x="123508" y="327978"/>
                  </a:cubicBezTo>
                  <a:lnTo>
                    <a:pt x="508953" y="550862"/>
                  </a:lnTo>
                  <a:cubicBezTo>
                    <a:pt x="536893" y="566737"/>
                    <a:pt x="561658" y="567373"/>
                    <a:pt x="578803" y="555308"/>
                  </a:cubicBezTo>
                  <a:cubicBezTo>
                    <a:pt x="579438" y="554673"/>
                    <a:pt x="580708" y="554037"/>
                    <a:pt x="581343" y="553403"/>
                  </a:cubicBezTo>
                  <a:cubicBezTo>
                    <a:pt x="582613" y="550862"/>
                    <a:pt x="583883" y="549593"/>
                    <a:pt x="584518" y="54895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2" name="任意多边形: 形状 9901"/>
            <p:cNvSpPr/>
            <p:nvPr/>
          </p:nvSpPr>
          <p:spPr>
            <a:xfrm>
              <a:off x="8462328" y="1293455"/>
              <a:ext cx="222250" cy="266700"/>
            </a:xfrm>
            <a:custGeom>
              <a:avLst/>
              <a:gdLst>
                <a:gd name="connsiteX0" fmla="*/ 189547 w 222250"/>
                <a:gd name="connsiteY0" fmla="*/ 167045 h 266700"/>
                <a:gd name="connsiteX1" fmla="*/ 136842 w 222250"/>
                <a:gd name="connsiteY1" fmla="*/ 87670 h 266700"/>
                <a:gd name="connsiteX2" fmla="*/ 129222 w 222250"/>
                <a:gd name="connsiteY2" fmla="*/ 83860 h 266700"/>
                <a:gd name="connsiteX3" fmla="*/ 70803 w 222250"/>
                <a:gd name="connsiteY3" fmla="*/ 14645 h 266700"/>
                <a:gd name="connsiteX4" fmla="*/ 20003 w 222250"/>
                <a:gd name="connsiteY4" fmla="*/ 9565 h 266700"/>
                <a:gd name="connsiteX5" fmla="*/ 4763 w 222250"/>
                <a:gd name="connsiteY5" fmla="*/ 18455 h 266700"/>
                <a:gd name="connsiteX6" fmla="*/ 5397 w 222250"/>
                <a:gd name="connsiteY6" fmla="*/ 18455 h 266700"/>
                <a:gd name="connsiteX7" fmla="*/ 9842 w 222250"/>
                <a:gd name="connsiteY7" fmla="*/ 16550 h 266700"/>
                <a:gd name="connsiteX8" fmla="*/ 10478 w 222250"/>
                <a:gd name="connsiteY8" fmla="*/ 16550 h 266700"/>
                <a:gd name="connsiteX9" fmla="*/ 14922 w 222250"/>
                <a:gd name="connsiteY9" fmla="*/ 15280 h 266700"/>
                <a:gd name="connsiteX10" fmla="*/ 16828 w 222250"/>
                <a:gd name="connsiteY10" fmla="*/ 15280 h 266700"/>
                <a:gd name="connsiteX11" fmla="*/ 20638 w 222250"/>
                <a:gd name="connsiteY11" fmla="*/ 14645 h 266700"/>
                <a:gd name="connsiteX12" fmla="*/ 22542 w 222250"/>
                <a:gd name="connsiteY12" fmla="*/ 14645 h 266700"/>
                <a:gd name="connsiteX13" fmla="*/ 26988 w 222250"/>
                <a:gd name="connsiteY13" fmla="*/ 14645 h 266700"/>
                <a:gd name="connsiteX14" fmla="*/ 28257 w 222250"/>
                <a:gd name="connsiteY14" fmla="*/ 14645 h 266700"/>
                <a:gd name="connsiteX15" fmla="*/ 33972 w 222250"/>
                <a:gd name="connsiteY15" fmla="*/ 15280 h 266700"/>
                <a:gd name="connsiteX16" fmla="*/ 35878 w 222250"/>
                <a:gd name="connsiteY16" fmla="*/ 15915 h 266700"/>
                <a:gd name="connsiteX17" fmla="*/ 40322 w 222250"/>
                <a:gd name="connsiteY17" fmla="*/ 17185 h 266700"/>
                <a:gd name="connsiteX18" fmla="*/ 42228 w 222250"/>
                <a:gd name="connsiteY18" fmla="*/ 17820 h 266700"/>
                <a:gd name="connsiteX19" fmla="*/ 46672 w 222250"/>
                <a:gd name="connsiteY19" fmla="*/ 19725 h 266700"/>
                <a:gd name="connsiteX20" fmla="*/ 48578 w 222250"/>
                <a:gd name="connsiteY20" fmla="*/ 20360 h 266700"/>
                <a:gd name="connsiteX21" fmla="*/ 55563 w 222250"/>
                <a:gd name="connsiteY21" fmla="*/ 23535 h 266700"/>
                <a:gd name="connsiteX22" fmla="*/ 113982 w 222250"/>
                <a:gd name="connsiteY22" fmla="*/ 92750 h 266700"/>
                <a:gd name="connsiteX23" fmla="*/ 121603 w 222250"/>
                <a:gd name="connsiteY23" fmla="*/ 96560 h 266700"/>
                <a:gd name="connsiteX24" fmla="*/ 174307 w 222250"/>
                <a:gd name="connsiteY24" fmla="*/ 175935 h 266700"/>
                <a:gd name="connsiteX25" fmla="*/ 201613 w 222250"/>
                <a:gd name="connsiteY25" fmla="*/ 237530 h 266700"/>
                <a:gd name="connsiteX26" fmla="*/ 201613 w 222250"/>
                <a:gd name="connsiteY26" fmla="*/ 242610 h 266700"/>
                <a:gd name="connsiteX27" fmla="*/ 201613 w 222250"/>
                <a:gd name="connsiteY27" fmla="*/ 243880 h 266700"/>
                <a:gd name="connsiteX28" fmla="*/ 200978 w 222250"/>
                <a:gd name="connsiteY28" fmla="*/ 247055 h 266700"/>
                <a:gd name="connsiteX29" fmla="*/ 200342 w 222250"/>
                <a:gd name="connsiteY29" fmla="*/ 248325 h 266700"/>
                <a:gd name="connsiteX30" fmla="*/ 199707 w 222250"/>
                <a:gd name="connsiteY30" fmla="*/ 250865 h 266700"/>
                <a:gd name="connsiteX31" fmla="*/ 199072 w 222250"/>
                <a:gd name="connsiteY31" fmla="*/ 252135 h 266700"/>
                <a:gd name="connsiteX32" fmla="*/ 198438 w 222250"/>
                <a:gd name="connsiteY32" fmla="*/ 254040 h 266700"/>
                <a:gd name="connsiteX33" fmla="*/ 197803 w 222250"/>
                <a:gd name="connsiteY33" fmla="*/ 255310 h 266700"/>
                <a:gd name="connsiteX34" fmla="*/ 196532 w 222250"/>
                <a:gd name="connsiteY34" fmla="*/ 257215 h 266700"/>
                <a:gd name="connsiteX35" fmla="*/ 195897 w 222250"/>
                <a:gd name="connsiteY35" fmla="*/ 258485 h 266700"/>
                <a:gd name="connsiteX36" fmla="*/ 194628 w 222250"/>
                <a:gd name="connsiteY36" fmla="*/ 259755 h 266700"/>
                <a:gd name="connsiteX37" fmla="*/ 193357 w 222250"/>
                <a:gd name="connsiteY37" fmla="*/ 261025 h 266700"/>
                <a:gd name="connsiteX38" fmla="*/ 192088 w 222250"/>
                <a:gd name="connsiteY38" fmla="*/ 262295 h 266700"/>
                <a:gd name="connsiteX39" fmla="*/ 190817 w 222250"/>
                <a:gd name="connsiteY39" fmla="*/ 262930 h 266700"/>
                <a:gd name="connsiteX40" fmla="*/ 189547 w 222250"/>
                <a:gd name="connsiteY40" fmla="*/ 264200 h 266700"/>
                <a:gd name="connsiteX41" fmla="*/ 204788 w 222250"/>
                <a:gd name="connsiteY41" fmla="*/ 255310 h 266700"/>
                <a:gd name="connsiteX42" fmla="*/ 217488 w 222250"/>
                <a:gd name="connsiteY42" fmla="*/ 228005 h 266700"/>
                <a:gd name="connsiteX43" fmla="*/ 189547 w 222250"/>
                <a:gd name="connsiteY43" fmla="*/ 167045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22250" h="266700">
                  <a:moveTo>
                    <a:pt x="189547" y="167045"/>
                  </a:moveTo>
                  <a:cubicBezTo>
                    <a:pt x="184467" y="135930"/>
                    <a:pt x="162878" y="102910"/>
                    <a:pt x="136842" y="87670"/>
                  </a:cubicBezTo>
                  <a:cubicBezTo>
                    <a:pt x="134303" y="86400"/>
                    <a:pt x="131763" y="85130"/>
                    <a:pt x="129222" y="83860"/>
                  </a:cubicBezTo>
                  <a:cubicBezTo>
                    <a:pt x="116522" y="55285"/>
                    <a:pt x="94932" y="28615"/>
                    <a:pt x="70803" y="14645"/>
                  </a:cubicBezTo>
                  <a:cubicBezTo>
                    <a:pt x="51117" y="3215"/>
                    <a:pt x="33338" y="1945"/>
                    <a:pt x="20003" y="9565"/>
                  </a:cubicBezTo>
                  <a:lnTo>
                    <a:pt x="4763" y="18455"/>
                  </a:lnTo>
                  <a:cubicBezTo>
                    <a:pt x="4763" y="18455"/>
                    <a:pt x="4763" y="18455"/>
                    <a:pt x="5397" y="18455"/>
                  </a:cubicBezTo>
                  <a:cubicBezTo>
                    <a:pt x="6667" y="17820"/>
                    <a:pt x="8572" y="17185"/>
                    <a:pt x="9842" y="16550"/>
                  </a:cubicBezTo>
                  <a:cubicBezTo>
                    <a:pt x="9842" y="16550"/>
                    <a:pt x="10478" y="16550"/>
                    <a:pt x="10478" y="16550"/>
                  </a:cubicBezTo>
                  <a:cubicBezTo>
                    <a:pt x="11747" y="15915"/>
                    <a:pt x="13017" y="15915"/>
                    <a:pt x="14922" y="15280"/>
                  </a:cubicBezTo>
                  <a:cubicBezTo>
                    <a:pt x="15557" y="15280"/>
                    <a:pt x="16192" y="15280"/>
                    <a:pt x="16828" y="15280"/>
                  </a:cubicBezTo>
                  <a:cubicBezTo>
                    <a:pt x="18097" y="15280"/>
                    <a:pt x="19367" y="14645"/>
                    <a:pt x="20638" y="14645"/>
                  </a:cubicBezTo>
                  <a:cubicBezTo>
                    <a:pt x="21272" y="14645"/>
                    <a:pt x="21907" y="14645"/>
                    <a:pt x="22542" y="14645"/>
                  </a:cubicBezTo>
                  <a:cubicBezTo>
                    <a:pt x="23813" y="14645"/>
                    <a:pt x="25717" y="14645"/>
                    <a:pt x="26988" y="14645"/>
                  </a:cubicBezTo>
                  <a:cubicBezTo>
                    <a:pt x="27622" y="14645"/>
                    <a:pt x="27622" y="14645"/>
                    <a:pt x="28257" y="14645"/>
                  </a:cubicBezTo>
                  <a:cubicBezTo>
                    <a:pt x="30163" y="14645"/>
                    <a:pt x="32067" y="15280"/>
                    <a:pt x="33972" y="15280"/>
                  </a:cubicBezTo>
                  <a:cubicBezTo>
                    <a:pt x="34607" y="15280"/>
                    <a:pt x="35242" y="15280"/>
                    <a:pt x="35878" y="15915"/>
                  </a:cubicBezTo>
                  <a:cubicBezTo>
                    <a:pt x="37147" y="16550"/>
                    <a:pt x="39053" y="16550"/>
                    <a:pt x="40322" y="17185"/>
                  </a:cubicBezTo>
                  <a:cubicBezTo>
                    <a:pt x="40957" y="17185"/>
                    <a:pt x="41592" y="17820"/>
                    <a:pt x="42228" y="17820"/>
                  </a:cubicBezTo>
                  <a:cubicBezTo>
                    <a:pt x="43497" y="18455"/>
                    <a:pt x="45403" y="19090"/>
                    <a:pt x="46672" y="19725"/>
                  </a:cubicBezTo>
                  <a:cubicBezTo>
                    <a:pt x="47307" y="19725"/>
                    <a:pt x="47942" y="20360"/>
                    <a:pt x="48578" y="20360"/>
                  </a:cubicBezTo>
                  <a:cubicBezTo>
                    <a:pt x="50482" y="21630"/>
                    <a:pt x="53022" y="22265"/>
                    <a:pt x="55563" y="23535"/>
                  </a:cubicBezTo>
                  <a:cubicBezTo>
                    <a:pt x="79692" y="37505"/>
                    <a:pt x="101282" y="64175"/>
                    <a:pt x="113982" y="92750"/>
                  </a:cubicBezTo>
                  <a:cubicBezTo>
                    <a:pt x="116522" y="94020"/>
                    <a:pt x="119063" y="95290"/>
                    <a:pt x="121603" y="96560"/>
                  </a:cubicBezTo>
                  <a:cubicBezTo>
                    <a:pt x="147638" y="111800"/>
                    <a:pt x="169228" y="144820"/>
                    <a:pt x="174307" y="175935"/>
                  </a:cubicBezTo>
                  <a:cubicBezTo>
                    <a:pt x="190182" y="192445"/>
                    <a:pt x="201613" y="216575"/>
                    <a:pt x="201613" y="237530"/>
                  </a:cubicBezTo>
                  <a:cubicBezTo>
                    <a:pt x="201613" y="239435"/>
                    <a:pt x="201613" y="240705"/>
                    <a:pt x="201613" y="242610"/>
                  </a:cubicBezTo>
                  <a:cubicBezTo>
                    <a:pt x="201613" y="243245"/>
                    <a:pt x="201613" y="243245"/>
                    <a:pt x="201613" y="243880"/>
                  </a:cubicBezTo>
                  <a:cubicBezTo>
                    <a:pt x="201613" y="245150"/>
                    <a:pt x="201613" y="245785"/>
                    <a:pt x="200978" y="247055"/>
                  </a:cubicBezTo>
                  <a:cubicBezTo>
                    <a:pt x="200978" y="247690"/>
                    <a:pt x="200978" y="248325"/>
                    <a:pt x="200342" y="248325"/>
                  </a:cubicBezTo>
                  <a:cubicBezTo>
                    <a:pt x="200342" y="248960"/>
                    <a:pt x="199707" y="250230"/>
                    <a:pt x="199707" y="250865"/>
                  </a:cubicBezTo>
                  <a:cubicBezTo>
                    <a:pt x="199707" y="251500"/>
                    <a:pt x="199072" y="252135"/>
                    <a:pt x="199072" y="252135"/>
                  </a:cubicBezTo>
                  <a:cubicBezTo>
                    <a:pt x="199072" y="252770"/>
                    <a:pt x="198438" y="253405"/>
                    <a:pt x="198438" y="254040"/>
                  </a:cubicBezTo>
                  <a:cubicBezTo>
                    <a:pt x="198438" y="254675"/>
                    <a:pt x="197803" y="254675"/>
                    <a:pt x="197803" y="255310"/>
                  </a:cubicBezTo>
                  <a:cubicBezTo>
                    <a:pt x="197167" y="255945"/>
                    <a:pt x="197167" y="256580"/>
                    <a:pt x="196532" y="257215"/>
                  </a:cubicBezTo>
                  <a:cubicBezTo>
                    <a:pt x="196532" y="257850"/>
                    <a:pt x="195897" y="257850"/>
                    <a:pt x="195897" y="258485"/>
                  </a:cubicBezTo>
                  <a:cubicBezTo>
                    <a:pt x="195263" y="259120"/>
                    <a:pt x="195263" y="259755"/>
                    <a:pt x="194628" y="259755"/>
                  </a:cubicBezTo>
                  <a:cubicBezTo>
                    <a:pt x="193992" y="260390"/>
                    <a:pt x="193992" y="260390"/>
                    <a:pt x="193357" y="261025"/>
                  </a:cubicBezTo>
                  <a:cubicBezTo>
                    <a:pt x="192722" y="261660"/>
                    <a:pt x="192722" y="261660"/>
                    <a:pt x="192088" y="262295"/>
                  </a:cubicBezTo>
                  <a:cubicBezTo>
                    <a:pt x="191453" y="262930"/>
                    <a:pt x="191453" y="262930"/>
                    <a:pt x="190817" y="262930"/>
                  </a:cubicBezTo>
                  <a:cubicBezTo>
                    <a:pt x="190182" y="263565"/>
                    <a:pt x="190182" y="263565"/>
                    <a:pt x="189547" y="264200"/>
                  </a:cubicBezTo>
                  <a:lnTo>
                    <a:pt x="204788" y="255310"/>
                  </a:lnTo>
                  <a:cubicBezTo>
                    <a:pt x="212407" y="250865"/>
                    <a:pt x="217488" y="241340"/>
                    <a:pt x="217488" y="228005"/>
                  </a:cubicBezTo>
                  <a:cubicBezTo>
                    <a:pt x="216853" y="207685"/>
                    <a:pt x="205422" y="183555"/>
                    <a:pt x="189547" y="167045"/>
                  </a:cubicBezTo>
                  <a:close/>
                </a:path>
              </a:pathLst>
            </a:custGeom>
            <a:solidFill>
              <a:srgbClr val="B2B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3" name="任意多边形: 形状 9902"/>
            <p:cNvSpPr/>
            <p:nvPr/>
          </p:nvSpPr>
          <p:spPr>
            <a:xfrm>
              <a:off x="8387397" y="1303973"/>
              <a:ext cx="279400" cy="260350"/>
            </a:xfrm>
            <a:custGeom>
              <a:avLst/>
              <a:gdLst>
                <a:gd name="connsiteX0" fmla="*/ 267653 w 279400"/>
                <a:gd name="connsiteY0" fmla="*/ 251142 h 260350"/>
                <a:gd name="connsiteX1" fmla="*/ 268922 w 279400"/>
                <a:gd name="connsiteY1" fmla="*/ 249872 h 260350"/>
                <a:gd name="connsiteX2" fmla="*/ 270193 w 279400"/>
                <a:gd name="connsiteY2" fmla="*/ 248602 h 260350"/>
                <a:gd name="connsiteX3" fmla="*/ 270828 w 279400"/>
                <a:gd name="connsiteY3" fmla="*/ 247332 h 260350"/>
                <a:gd name="connsiteX4" fmla="*/ 272097 w 279400"/>
                <a:gd name="connsiteY4" fmla="*/ 245427 h 260350"/>
                <a:gd name="connsiteX5" fmla="*/ 272733 w 279400"/>
                <a:gd name="connsiteY5" fmla="*/ 244157 h 260350"/>
                <a:gd name="connsiteX6" fmla="*/ 273368 w 279400"/>
                <a:gd name="connsiteY6" fmla="*/ 242252 h 260350"/>
                <a:gd name="connsiteX7" fmla="*/ 274003 w 279400"/>
                <a:gd name="connsiteY7" fmla="*/ 240982 h 260350"/>
                <a:gd name="connsiteX8" fmla="*/ 274638 w 279400"/>
                <a:gd name="connsiteY8" fmla="*/ 238442 h 260350"/>
                <a:gd name="connsiteX9" fmla="*/ 275272 w 279400"/>
                <a:gd name="connsiteY9" fmla="*/ 237172 h 260350"/>
                <a:gd name="connsiteX10" fmla="*/ 275908 w 279400"/>
                <a:gd name="connsiteY10" fmla="*/ 233997 h 260350"/>
                <a:gd name="connsiteX11" fmla="*/ 275908 w 279400"/>
                <a:gd name="connsiteY11" fmla="*/ 232727 h 260350"/>
                <a:gd name="connsiteX12" fmla="*/ 275908 w 279400"/>
                <a:gd name="connsiteY12" fmla="*/ 227647 h 260350"/>
                <a:gd name="connsiteX13" fmla="*/ 248603 w 279400"/>
                <a:gd name="connsiteY13" fmla="*/ 166052 h 260350"/>
                <a:gd name="connsiteX14" fmla="*/ 195897 w 279400"/>
                <a:gd name="connsiteY14" fmla="*/ 86677 h 260350"/>
                <a:gd name="connsiteX15" fmla="*/ 188278 w 279400"/>
                <a:gd name="connsiteY15" fmla="*/ 82867 h 260350"/>
                <a:gd name="connsiteX16" fmla="*/ 129858 w 279400"/>
                <a:gd name="connsiteY16" fmla="*/ 13652 h 260350"/>
                <a:gd name="connsiteX17" fmla="*/ 122872 w 279400"/>
                <a:gd name="connsiteY17" fmla="*/ 10477 h 260350"/>
                <a:gd name="connsiteX18" fmla="*/ 120968 w 279400"/>
                <a:gd name="connsiteY18" fmla="*/ 9842 h 260350"/>
                <a:gd name="connsiteX19" fmla="*/ 116522 w 279400"/>
                <a:gd name="connsiteY19" fmla="*/ 7938 h 260350"/>
                <a:gd name="connsiteX20" fmla="*/ 114618 w 279400"/>
                <a:gd name="connsiteY20" fmla="*/ 7302 h 260350"/>
                <a:gd name="connsiteX21" fmla="*/ 110172 w 279400"/>
                <a:gd name="connsiteY21" fmla="*/ 6032 h 260350"/>
                <a:gd name="connsiteX22" fmla="*/ 108268 w 279400"/>
                <a:gd name="connsiteY22" fmla="*/ 5397 h 260350"/>
                <a:gd name="connsiteX23" fmla="*/ 102553 w 279400"/>
                <a:gd name="connsiteY23" fmla="*/ 4763 h 260350"/>
                <a:gd name="connsiteX24" fmla="*/ 101283 w 279400"/>
                <a:gd name="connsiteY24" fmla="*/ 4763 h 260350"/>
                <a:gd name="connsiteX25" fmla="*/ 96838 w 279400"/>
                <a:gd name="connsiteY25" fmla="*/ 4763 h 260350"/>
                <a:gd name="connsiteX26" fmla="*/ 94933 w 279400"/>
                <a:gd name="connsiteY26" fmla="*/ 4763 h 260350"/>
                <a:gd name="connsiteX27" fmla="*/ 91122 w 279400"/>
                <a:gd name="connsiteY27" fmla="*/ 5397 h 260350"/>
                <a:gd name="connsiteX28" fmla="*/ 89218 w 279400"/>
                <a:gd name="connsiteY28" fmla="*/ 5397 h 260350"/>
                <a:gd name="connsiteX29" fmla="*/ 84772 w 279400"/>
                <a:gd name="connsiteY29" fmla="*/ 6667 h 260350"/>
                <a:gd name="connsiteX30" fmla="*/ 84138 w 279400"/>
                <a:gd name="connsiteY30" fmla="*/ 6667 h 260350"/>
                <a:gd name="connsiteX31" fmla="*/ 79693 w 279400"/>
                <a:gd name="connsiteY31" fmla="*/ 8572 h 260350"/>
                <a:gd name="connsiteX32" fmla="*/ 70803 w 279400"/>
                <a:gd name="connsiteY32" fmla="*/ 16192 h 260350"/>
                <a:gd name="connsiteX33" fmla="*/ 62547 w 279400"/>
                <a:gd name="connsiteY33" fmla="*/ 29527 h 260350"/>
                <a:gd name="connsiteX34" fmla="*/ 58738 w 279400"/>
                <a:gd name="connsiteY34" fmla="*/ 26988 h 260350"/>
                <a:gd name="connsiteX35" fmla="*/ 53022 w 279400"/>
                <a:gd name="connsiteY35" fmla="*/ 23813 h 260350"/>
                <a:gd name="connsiteX36" fmla="*/ 51118 w 279400"/>
                <a:gd name="connsiteY36" fmla="*/ 23177 h 260350"/>
                <a:gd name="connsiteX37" fmla="*/ 47943 w 279400"/>
                <a:gd name="connsiteY37" fmla="*/ 21907 h 260350"/>
                <a:gd name="connsiteX38" fmla="*/ 46038 w 279400"/>
                <a:gd name="connsiteY38" fmla="*/ 21272 h 260350"/>
                <a:gd name="connsiteX39" fmla="*/ 42863 w 279400"/>
                <a:gd name="connsiteY39" fmla="*/ 20638 h 260350"/>
                <a:gd name="connsiteX40" fmla="*/ 40958 w 279400"/>
                <a:gd name="connsiteY40" fmla="*/ 20002 h 260350"/>
                <a:gd name="connsiteX41" fmla="*/ 37783 w 279400"/>
                <a:gd name="connsiteY41" fmla="*/ 19367 h 260350"/>
                <a:gd name="connsiteX42" fmla="*/ 35878 w 279400"/>
                <a:gd name="connsiteY42" fmla="*/ 19367 h 260350"/>
                <a:gd name="connsiteX43" fmla="*/ 33338 w 279400"/>
                <a:gd name="connsiteY43" fmla="*/ 19367 h 260350"/>
                <a:gd name="connsiteX44" fmla="*/ 31433 w 279400"/>
                <a:gd name="connsiteY44" fmla="*/ 19367 h 260350"/>
                <a:gd name="connsiteX45" fmla="*/ 28893 w 279400"/>
                <a:gd name="connsiteY45" fmla="*/ 19367 h 260350"/>
                <a:gd name="connsiteX46" fmla="*/ 26988 w 279400"/>
                <a:gd name="connsiteY46" fmla="*/ 20002 h 260350"/>
                <a:gd name="connsiteX47" fmla="*/ 24447 w 279400"/>
                <a:gd name="connsiteY47" fmla="*/ 20638 h 260350"/>
                <a:gd name="connsiteX48" fmla="*/ 22543 w 279400"/>
                <a:gd name="connsiteY48" fmla="*/ 21272 h 260350"/>
                <a:gd name="connsiteX49" fmla="*/ 20638 w 279400"/>
                <a:gd name="connsiteY49" fmla="*/ 22542 h 260350"/>
                <a:gd name="connsiteX50" fmla="*/ 4763 w 279400"/>
                <a:gd name="connsiteY50" fmla="*/ 57467 h 260350"/>
                <a:gd name="connsiteX51" fmla="*/ 58738 w 279400"/>
                <a:gd name="connsiteY51" fmla="*/ 150813 h 260350"/>
                <a:gd name="connsiteX52" fmla="*/ 233363 w 279400"/>
                <a:gd name="connsiteY52" fmla="*/ 251777 h 260350"/>
                <a:gd name="connsiteX53" fmla="*/ 265113 w 279400"/>
                <a:gd name="connsiteY53" fmla="*/ 253682 h 260350"/>
                <a:gd name="connsiteX54" fmla="*/ 266383 w 279400"/>
                <a:gd name="connsiteY54" fmla="*/ 253047 h 260350"/>
                <a:gd name="connsiteX55" fmla="*/ 267653 w 279400"/>
                <a:gd name="connsiteY55" fmla="*/ 251142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79400" h="260350">
                  <a:moveTo>
                    <a:pt x="267653" y="251142"/>
                  </a:moveTo>
                  <a:cubicBezTo>
                    <a:pt x="268288" y="250507"/>
                    <a:pt x="268288" y="250507"/>
                    <a:pt x="268922" y="249872"/>
                  </a:cubicBezTo>
                  <a:cubicBezTo>
                    <a:pt x="269558" y="249238"/>
                    <a:pt x="269558" y="248602"/>
                    <a:pt x="270193" y="248602"/>
                  </a:cubicBezTo>
                  <a:cubicBezTo>
                    <a:pt x="270193" y="247967"/>
                    <a:pt x="270828" y="247967"/>
                    <a:pt x="270828" y="247332"/>
                  </a:cubicBezTo>
                  <a:cubicBezTo>
                    <a:pt x="271463" y="246697"/>
                    <a:pt x="271463" y="246063"/>
                    <a:pt x="272097" y="245427"/>
                  </a:cubicBezTo>
                  <a:cubicBezTo>
                    <a:pt x="272097" y="244792"/>
                    <a:pt x="272733" y="244792"/>
                    <a:pt x="272733" y="244157"/>
                  </a:cubicBezTo>
                  <a:cubicBezTo>
                    <a:pt x="272733" y="243522"/>
                    <a:pt x="273368" y="242888"/>
                    <a:pt x="273368" y="242252"/>
                  </a:cubicBezTo>
                  <a:cubicBezTo>
                    <a:pt x="273368" y="241617"/>
                    <a:pt x="274003" y="240982"/>
                    <a:pt x="274003" y="240982"/>
                  </a:cubicBezTo>
                  <a:cubicBezTo>
                    <a:pt x="274003" y="240347"/>
                    <a:pt x="274638" y="239077"/>
                    <a:pt x="274638" y="238442"/>
                  </a:cubicBezTo>
                  <a:cubicBezTo>
                    <a:pt x="274638" y="237807"/>
                    <a:pt x="274638" y="237172"/>
                    <a:pt x="275272" y="237172"/>
                  </a:cubicBezTo>
                  <a:cubicBezTo>
                    <a:pt x="275272" y="235902"/>
                    <a:pt x="275908" y="235267"/>
                    <a:pt x="275908" y="233997"/>
                  </a:cubicBezTo>
                  <a:cubicBezTo>
                    <a:pt x="275908" y="233363"/>
                    <a:pt x="275908" y="233363"/>
                    <a:pt x="275908" y="232727"/>
                  </a:cubicBezTo>
                  <a:cubicBezTo>
                    <a:pt x="275908" y="231457"/>
                    <a:pt x="275908" y="229552"/>
                    <a:pt x="275908" y="227647"/>
                  </a:cubicBezTo>
                  <a:cubicBezTo>
                    <a:pt x="275908" y="206692"/>
                    <a:pt x="264478" y="182563"/>
                    <a:pt x="248603" y="166052"/>
                  </a:cubicBezTo>
                  <a:cubicBezTo>
                    <a:pt x="243522" y="134938"/>
                    <a:pt x="221933" y="101917"/>
                    <a:pt x="195897" y="86677"/>
                  </a:cubicBezTo>
                  <a:cubicBezTo>
                    <a:pt x="193358" y="85407"/>
                    <a:pt x="190818" y="84138"/>
                    <a:pt x="188278" y="82867"/>
                  </a:cubicBezTo>
                  <a:cubicBezTo>
                    <a:pt x="175578" y="54292"/>
                    <a:pt x="153988" y="27622"/>
                    <a:pt x="129858" y="13652"/>
                  </a:cubicBezTo>
                  <a:cubicBezTo>
                    <a:pt x="127318" y="12382"/>
                    <a:pt x="125413" y="11113"/>
                    <a:pt x="122872" y="10477"/>
                  </a:cubicBezTo>
                  <a:cubicBezTo>
                    <a:pt x="122238" y="9842"/>
                    <a:pt x="121603" y="9842"/>
                    <a:pt x="120968" y="9842"/>
                  </a:cubicBezTo>
                  <a:cubicBezTo>
                    <a:pt x="119697" y="9207"/>
                    <a:pt x="117793" y="8572"/>
                    <a:pt x="116522" y="7938"/>
                  </a:cubicBezTo>
                  <a:cubicBezTo>
                    <a:pt x="115888" y="7938"/>
                    <a:pt x="115253" y="7302"/>
                    <a:pt x="114618" y="7302"/>
                  </a:cubicBezTo>
                  <a:cubicBezTo>
                    <a:pt x="113347" y="6667"/>
                    <a:pt x="111443" y="6667"/>
                    <a:pt x="110172" y="6032"/>
                  </a:cubicBezTo>
                  <a:cubicBezTo>
                    <a:pt x="109538" y="6032"/>
                    <a:pt x="108903" y="6032"/>
                    <a:pt x="108268" y="5397"/>
                  </a:cubicBezTo>
                  <a:cubicBezTo>
                    <a:pt x="106363" y="4763"/>
                    <a:pt x="104458" y="4763"/>
                    <a:pt x="102553" y="4763"/>
                  </a:cubicBezTo>
                  <a:cubicBezTo>
                    <a:pt x="101918" y="4763"/>
                    <a:pt x="101918" y="4763"/>
                    <a:pt x="101283" y="4763"/>
                  </a:cubicBezTo>
                  <a:cubicBezTo>
                    <a:pt x="100013" y="4763"/>
                    <a:pt x="98108" y="4763"/>
                    <a:pt x="96838" y="4763"/>
                  </a:cubicBezTo>
                  <a:cubicBezTo>
                    <a:pt x="96203" y="4763"/>
                    <a:pt x="95568" y="4763"/>
                    <a:pt x="94933" y="4763"/>
                  </a:cubicBezTo>
                  <a:cubicBezTo>
                    <a:pt x="93663" y="4763"/>
                    <a:pt x="92393" y="4763"/>
                    <a:pt x="91122" y="5397"/>
                  </a:cubicBezTo>
                  <a:cubicBezTo>
                    <a:pt x="90488" y="5397"/>
                    <a:pt x="89853" y="5397"/>
                    <a:pt x="89218" y="5397"/>
                  </a:cubicBezTo>
                  <a:cubicBezTo>
                    <a:pt x="87947" y="6032"/>
                    <a:pt x="86043" y="6032"/>
                    <a:pt x="84772" y="6667"/>
                  </a:cubicBezTo>
                  <a:cubicBezTo>
                    <a:pt x="84772" y="6667"/>
                    <a:pt x="84138" y="6667"/>
                    <a:pt x="84138" y="6667"/>
                  </a:cubicBezTo>
                  <a:cubicBezTo>
                    <a:pt x="82233" y="7302"/>
                    <a:pt x="80963" y="7938"/>
                    <a:pt x="79693" y="8572"/>
                  </a:cubicBezTo>
                  <a:cubicBezTo>
                    <a:pt x="76518" y="10477"/>
                    <a:pt x="73343" y="13017"/>
                    <a:pt x="70803" y="16192"/>
                  </a:cubicBezTo>
                  <a:cubicBezTo>
                    <a:pt x="67628" y="20002"/>
                    <a:pt x="65088" y="24447"/>
                    <a:pt x="62547" y="29527"/>
                  </a:cubicBezTo>
                  <a:cubicBezTo>
                    <a:pt x="61278" y="28892"/>
                    <a:pt x="60008" y="27622"/>
                    <a:pt x="58738" y="26988"/>
                  </a:cubicBezTo>
                  <a:cubicBezTo>
                    <a:pt x="56833" y="25717"/>
                    <a:pt x="54928" y="25082"/>
                    <a:pt x="53022" y="23813"/>
                  </a:cubicBezTo>
                  <a:cubicBezTo>
                    <a:pt x="52388" y="23813"/>
                    <a:pt x="51753" y="23177"/>
                    <a:pt x="51118" y="23177"/>
                  </a:cubicBezTo>
                  <a:cubicBezTo>
                    <a:pt x="49847" y="22542"/>
                    <a:pt x="48578" y="21907"/>
                    <a:pt x="47943" y="21907"/>
                  </a:cubicBezTo>
                  <a:cubicBezTo>
                    <a:pt x="47308" y="21907"/>
                    <a:pt x="46672" y="21272"/>
                    <a:pt x="46038" y="21272"/>
                  </a:cubicBezTo>
                  <a:cubicBezTo>
                    <a:pt x="44768" y="21272"/>
                    <a:pt x="44133" y="20638"/>
                    <a:pt x="42863" y="20638"/>
                  </a:cubicBezTo>
                  <a:cubicBezTo>
                    <a:pt x="42228" y="20638"/>
                    <a:pt x="41593" y="20638"/>
                    <a:pt x="40958" y="20002"/>
                  </a:cubicBezTo>
                  <a:cubicBezTo>
                    <a:pt x="39688" y="20002"/>
                    <a:pt x="39053" y="19367"/>
                    <a:pt x="37783" y="19367"/>
                  </a:cubicBezTo>
                  <a:cubicBezTo>
                    <a:pt x="37147" y="19367"/>
                    <a:pt x="36513" y="19367"/>
                    <a:pt x="35878" y="19367"/>
                  </a:cubicBezTo>
                  <a:cubicBezTo>
                    <a:pt x="35243" y="19367"/>
                    <a:pt x="33972" y="19367"/>
                    <a:pt x="33338" y="19367"/>
                  </a:cubicBezTo>
                  <a:cubicBezTo>
                    <a:pt x="32703" y="19367"/>
                    <a:pt x="32068" y="19367"/>
                    <a:pt x="31433" y="19367"/>
                  </a:cubicBezTo>
                  <a:cubicBezTo>
                    <a:pt x="30797" y="19367"/>
                    <a:pt x="29528" y="19367"/>
                    <a:pt x="28893" y="19367"/>
                  </a:cubicBezTo>
                  <a:cubicBezTo>
                    <a:pt x="28258" y="19367"/>
                    <a:pt x="27622" y="20002"/>
                    <a:pt x="26988" y="20002"/>
                  </a:cubicBezTo>
                  <a:cubicBezTo>
                    <a:pt x="26353" y="20002"/>
                    <a:pt x="25718" y="20638"/>
                    <a:pt x="24447" y="20638"/>
                  </a:cubicBezTo>
                  <a:cubicBezTo>
                    <a:pt x="23813" y="20638"/>
                    <a:pt x="23178" y="21272"/>
                    <a:pt x="22543" y="21272"/>
                  </a:cubicBezTo>
                  <a:cubicBezTo>
                    <a:pt x="21908" y="21272"/>
                    <a:pt x="21272" y="21907"/>
                    <a:pt x="20638" y="22542"/>
                  </a:cubicBezTo>
                  <a:cubicBezTo>
                    <a:pt x="11113" y="28257"/>
                    <a:pt x="4763" y="40322"/>
                    <a:pt x="4763" y="57467"/>
                  </a:cubicBezTo>
                  <a:cubicBezTo>
                    <a:pt x="4763" y="91757"/>
                    <a:pt x="28893" y="133032"/>
                    <a:pt x="58738" y="150813"/>
                  </a:cubicBezTo>
                  <a:lnTo>
                    <a:pt x="233363" y="251777"/>
                  </a:lnTo>
                  <a:cubicBezTo>
                    <a:pt x="246063" y="258763"/>
                    <a:pt x="257493" y="259397"/>
                    <a:pt x="265113" y="253682"/>
                  </a:cubicBezTo>
                  <a:cubicBezTo>
                    <a:pt x="265747" y="253682"/>
                    <a:pt x="265747" y="253047"/>
                    <a:pt x="266383" y="253047"/>
                  </a:cubicBezTo>
                  <a:cubicBezTo>
                    <a:pt x="267018" y="251777"/>
                    <a:pt x="267018" y="251777"/>
                    <a:pt x="267653" y="25114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4" name="任意多边形: 形状 9903"/>
            <p:cNvSpPr/>
            <p:nvPr/>
          </p:nvSpPr>
          <p:spPr>
            <a:xfrm>
              <a:off x="10782935" y="2258337"/>
              <a:ext cx="215900" cy="260350"/>
            </a:xfrm>
            <a:custGeom>
              <a:avLst/>
              <a:gdLst>
                <a:gd name="connsiteX0" fmla="*/ 187960 w 215900"/>
                <a:gd name="connsiteY0" fmla="*/ 165458 h 260350"/>
                <a:gd name="connsiteX1" fmla="*/ 135255 w 215900"/>
                <a:gd name="connsiteY1" fmla="*/ 86083 h 260350"/>
                <a:gd name="connsiteX2" fmla="*/ 127635 w 215900"/>
                <a:gd name="connsiteY2" fmla="*/ 82273 h 260350"/>
                <a:gd name="connsiteX3" fmla="*/ 69215 w 215900"/>
                <a:gd name="connsiteY3" fmla="*/ 13058 h 260350"/>
                <a:gd name="connsiteX4" fmla="*/ 18415 w 215900"/>
                <a:gd name="connsiteY4" fmla="*/ 7978 h 260350"/>
                <a:gd name="connsiteX5" fmla="*/ 3175 w 215900"/>
                <a:gd name="connsiteY5" fmla="*/ 16868 h 260350"/>
                <a:gd name="connsiteX6" fmla="*/ 3810 w 215900"/>
                <a:gd name="connsiteY6" fmla="*/ 16868 h 260350"/>
                <a:gd name="connsiteX7" fmla="*/ 8255 w 215900"/>
                <a:gd name="connsiteY7" fmla="*/ 14963 h 260350"/>
                <a:gd name="connsiteX8" fmla="*/ 8890 w 215900"/>
                <a:gd name="connsiteY8" fmla="*/ 14963 h 260350"/>
                <a:gd name="connsiteX9" fmla="*/ 13335 w 215900"/>
                <a:gd name="connsiteY9" fmla="*/ 13693 h 260350"/>
                <a:gd name="connsiteX10" fmla="*/ 15240 w 215900"/>
                <a:gd name="connsiteY10" fmla="*/ 13693 h 260350"/>
                <a:gd name="connsiteX11" fmla="*/ 19050 w 215900"/>
                <a:gd name="connsiteY11" fmla="*/ 13058 h 260350"/>
                <a:gd name="connsiteX12" fmla="*/ 20955 w 215900"/>
                <a:gd name="connsiteY12" fmla="*/ 13058 h 260350"/>
                <a:gd name="connsiteX13" fmla="*/ 25400 w 215900"/>
                <a:gd name="connsiteY13" fmla="*/ 13058 h 260350"/>
                <a:gd name="connsiteX14" fmla="*/ 26670 w 215900"/>
                <a:gd name="connsiteY14" fmla="*/ 13058 h 260350"/>
                <a:gd name="connsiteX15" fmla="*/ 32385 w 215900"/>
                <a:gd name="connsiteY15" fmla="*/ 13693 h 260350"/>
                <a:gd name="connsiteX16" fmla="*/ 34290 w 215900"/>
                <a:gd name="connsiteY16" fmla="*/ 14328 h 260350"/>
                <a:gd name="connsiteX17" fmla="*/ 38735 w 215900"/>
                <a:gd name="connsiteY17" fmla="*/ 15598 h 260350"/>
                <a:gd name="connsiteX18" fmla="*/ 40640 w 215900"/>
                <a:gd name="connsiteY18" fmla="*/ 16233 h 260350"/>
                <a:gd name="connsiteX19" fmla="*/ 45085 w 215900"/>
                <a:gd name="connsiteY19" fmla="*/ 18138 h 260350"/>
                <a:gd name="connsiteX20" fmla="*/ 46990 w 215900"/>
                <a:gd name="connsiteY20" fmla="*/ 18773 h 260350"/>
                <a:gd name="connsiteX21" fmla="*/ 53975 w 215900"/>
                <a:gd name="connsiteY21" fmla="*/ 21948 h 260350"/>
                <a:gd name="connsiteX22" fmla="*/ 112395 w 215900"/>
                <a:gd name="connsiteY22" fmla="*/ 91163 h 260350"/>
                <a:gd name="connsiteX23" fmla="*/ 120015 w 215900"/>
                <a:gd name="connsiteY23" fmla="*/ 94973 h 260350"/>
                <a:gd name="connsiteX24" fmla="*/ 172720 w 215900"/>
                <a:gd name="connsiteY24" fmla="*/ 174348 h 260350"/>
                <a:gd name="connsiteX25" fmla="*/ 200025 w 215900"/>
                <a:gd name="connsiteY25" fmla="*/ 235943 h 260350"/>
                <a:gd name="connsiteX26" fmla="*/ 200025 w 215900"/>
                <a:gd name="connsiteY26" fmla="*/ 241023 h 260350"/>
                <a:gd name="connsiteX27" fmla="*/ 200025 w 215900"/>
                <a:gd name="connsiteY27" fmla="*/ 242293 h 260350"/>
                <a:gd name="connsiteX28" fmla="*/ 199390 w 215900"/>
                <a:gd name="connsiteY28" fmla="*/ 245468 h 260350"/>
                <a:gd name="connsiteX29" fmla="*/ 198755 w 215900"/>
                <a:gd name="connsiteY29" fmla="*/ 246738 h 260350"/>
                <a:gd name="connsiteX30" fmla="*/ 198120 w 215900"/>
                <a:gd name="connsiteY30" fmla="*/ 249278 h 260350"/>
                <a:gd name="connsiteX31" fmla="*/ 197485 w 215900"/>
                <a:gd name="connsiteY31" fmla="*/ 250548 h 260350"/>
                <a:gd name="connsiteX32" fmla="*/ 196850 w 215900"/>
                <a:gd name="connsiteY32" fmla="*/ 252453 h 260350"/>
                <a:gd name="connsiteX33" fmla="*/ 196215 w 215900"/>
                <a:gd name="connsiteY33" fmla="*/ 253723 h 260350"/>
                <a:gd name="connsiteX34" fmla="*/ 194945 w 215900"/>
                <a:gd name="connsiteY34" fmla="*/ 255628 h 260350"/>
                <a:gd name="connsiteX35" fmla="*/ 194310 w 215900"/>
                <a:gd name="connsiteY35" fmla="*/ 256898 h 260350"/>
                <a:gd name="connsiteX36" fmla="*/ 193040 w 215900"/>
                <a:gd name="connsiteY36" fmla="*/ 258168 h 260350"/>
                <a:gd name="connsiteX37" fmla="*/ 191770 w 215900"/>
                <a:gd name="connsiteY37" fmla="*/ 259438 h 260350"/>
                <a:gd name="connsiteX38" fmla="*/ 190500 w 215900"/>
                <a:gd name="connsiteY38" fmla="*/ 260708 h 260350"/>
                <a:gd name="connsiteX39" fmla="*/ 189230 w 215900"/>
                <a:gd name="connsiteY39" fmla="*/ 261343 h 260350"/>
                <a:gd name="connsiteX40" fmla="*/ 187960 w 215900"/>
                <a:gd name="connsiteY40" fmla="*/ 262613 h 260350"/>
                <a:gd name="connsiteX41" fmla="*/ 203200 w 215900"/>
                <a:gd name="connsiteY41" fmla="*/ 253723 h 260350"/>
                <a:gd name="connsiteX42" fmla="*/ 215900 w 215900"/>
                <a:gd name="connsiteY42" fmla="*/ 226418 h 260350"/>
                <a:gd name="connsiteX43" fmla="*/ 187960 w 215900"/>
                <a:gd name="connsiteY43" fmla="*/ 165458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5900" h="260350">
                  <a:moveTo>
                    <a:pt x="187960" y="165458"/>
                  </a:moveTo>
                  <a:cubicBezTo>
                    <a:pt x="182880" y="134343"/>
                    <a:pt x="161290" y="101323"/>
                    <a:pt x="135255" y="86083"/>
                  </a:cubicBezTo>
                  <a:cubicBezTo>
                    <a:pt x="132715" y="84813"/>
                    <a:pt x="130175" y="83543"/>
                    <a:pt x="127635" y="82273"/>
                  </a:cubicBezTo>
                  <a:cubicBezTo>
                    <a:pt x="114935" y="53698"/>
                    <a:pt x="93345" y="27028"/>
                    <a:pt x="69215" y="13058"/>
                  </a:cubicBezTo>
                  <a:cubicBezTo>
                    <a:pt x="49530" y="1628"/>
                    <a:pt x="31750" y="358"/>
                    <a:pt x="18415" y="7978"/>
                  </a:cubicBezTo>
                  <a:lnTo>
                    <a:pt x="3175" y="16868"/>
                  </a:lnTo>
                  <a:cubicBezTo>
                    <a:pt x="3175" y="16868"/>
                    <a:pt x="3175" y="16868"/>
                    <a:pt x="3810" y="16868"/>
                  </a:cubicBezTo>
                  <a:cubicBezTo>
                    <a:pt x="5080" y="16233"/>
                    <a:pt x="6985" y="15598"/>
                    <a:pt x="8255" y="14963"/>
                  </a:cubicBezTo>
                  <a:cubicBezTo>
                    <a:pt x="8255" y="14963"/>
                    <a:pt x="8890" y="14963"/>
                    <a:pt x="8890" y="14963"/>
                  </a:cubicBezTo>
                  <a:cubicBezTo>
                    <a:pt x="10160" y="14328"/>
                    <a:pt x="11430" y="14328"/>
                    <a:pt x="13335" y="13693"/>
                  </a:cubicBezTo>
                  <a:cubicBezTo>
                    <a:pt x="13970" y="13693"/>
                    <a:pt x="14605" y="13693"/>
                    <a:pt x="15240" y="13693"/>
                  </a:cubicBezTo>
                  <a:cubicBezTo>
                    <a:pt x="16510" y="13693"/>
                    <a:pt x="17780" y="13058"/>
                    <a:pt x="19050" y="13058"/>
                  </a:cubicBezTo>
                  <a:cubicBezTo>
                    <a:pt x="19685" y="13058"/>
                    <a:pt x="20320" y="13058"/>
                    <a:pt x="20955" y="13058"/>
                  </a:cubicBezTo>
                  <a:cubicBezTo>
                    <a:pt x="22225" y="13058"/>
                    <a:pt x="24130" y="13058"/>
                    <a:pt x="25400" y="13058"/>
                  </a:cubicBezTo>
                  <a:cubicBezTo>
                    <a:pt x="26035" y="13058"/>
                    <a:pt x="26035" y="13058"/>
                    <a:pt x="26670" y="13058"/>
                  </a:cubicBezTo>
                  <a:cubicBezTo>
                    <a:pt x="28575" y="13058"/>
                    <a:pt x="30480" y="13693"/>
                    <a:pt x="32385" y="13693"/>
                  </a:cubicBezTo>
                  <a:cubicBezTo>
                    <a:pt x="33020" y="13693"/>
                    <a:pt x="33655" y="13693"/>
                    <a:pt x="34290" y="14328"/>
                  </a:cubicBezTo>
                  <a:cubicBezTo>
                    <a:pt x="35560" y="14963"/>
                    <a:pt x="37465" y="14963"/>
                    <a:pt x="38735" y="15598"/>
                  </a:cubicBezTo>
                  <a:cubicBezTo>
                    <a:pt x="39370" y="15598"/>
                    <a:pt x="40005" y="16233"/>
                    <a:pt x="40640" y="16233"/>
                  </a:cubicBezTo>
                  <a:cubicBezTo>
                    <a:pt x="41910" y="16868"/>
                    <a:pt x="43815" y="17503"/>
                    <a:pt x="45085" y="18138"/>
                  </a:cubicBezTo>
                  <a:cubicBezTo>
                    <a:pt x="45720" y="18138"/>
                    <a:pt x="46355" y="18773"/>
                    <a:pt x="46990" y="18773"/>
                  </a:cubicBezTo>
                  <a:cubicBezTo>
                    <a:pt x="48895" y="20043"/>
                    <a:pt x="51435" y="20678"/>
                    <a:pt x="53975" y="21948"/>
                  </a:cubicBezTo>
                  <a:cubicBezTo>
                    <a:pt x="78105" y="35918"/>
                    <a:pt x="99695" y="62588"/>
                    <a:pt x="112395" y="91163"/>
                  </a:cubicBezTo>
                  <a:cubicBezTo>
                    <a:pt x="114935" y="92433"/>
                    <a:pt x="117475" y="93703"/>
                    <a:pt x="120015" y="94973"/>
                  </a:cubicBezTo>
                  <a:cubicBezTo>
                    <a:pt x="146050" y="110213"/>
                    <a:pt x="167640" y="143233"/>
                    <a:pt x="172720" y="174348"/>
                  </a:cubicBezTo>
                  <a:cubicBezTo>
                    <a:pt x="188595" y="190858"/>
                    <a:pt x="200025" y="214988"/>
                    <a:pt x="200025" y="235943"/>
                  </a:cubicBezTo>
                  <a:cubicBezTo>
                    <a:pt x="200025" y="237848"/>
                    <a:pt x="200025" y="239118"/>
                    <a:pt x="200025" y="241023"/>
                  </a:cubicBezTo>
                  <a:cubicBezTo>
                    <a:pt x="200025" y="241658"/>
                    <a:pt x="200025" y="241658"/>
                    <a:pt x="200025" y="242293"/>
                  </a:cubicBezTo>
                  <a:cubicBezTo>
                    <a:pt x="200025" y="243563"/>
                    <a:pt x="200025" y="244198"/>
                    <a:pt x="199390" y="245468"/>
                  </a:cubicBezTo>
                  <a:cubicBezTo>
                    <a:pt x="199390" y="246103"/>
                    <a:pt x="199390" y="246738"/>
                    <a:pt x="198755" y="246738"/>
                  </a:cubicBezTo>
                  <a:cubicBezTo>
                    <a:pt x="198755" y="247373"/>
                    <a:pt x="198120" y="248643"/>
                    <a:pt x="198120" y="249278"/>
                  </a:cubicBezTo>
                  <a:cubicBezTo>
                    <a:pt x="198120" y="249913"/>
                    <a:pt x="197485" y="250548"/>
                    <a:pt x="197485" y="250548"/>
                  </a:cubicBezTo>
                  <a:cubicBezTo>
                    <a:pt x="197485" y="251183"/>
                    <a:pt x="196850" y="251818"/>
                    <a:pt x="196850" y="252453"/>
                  </a:cubicBezTo>
                  <a:cubicBezTo>
                    <a:pt x="196850" y="253088"/>
                    <a:pt x="196215" y="253088"/>
                    <a:pt x="196215" y="253723"/>
                  </a:cubicBezTo>
                  <a:cubicBezTo>
                    <a:pt x="195580" y="254358"/>
                    <a:pt x="195580" y="254993"/>
                    <a:pt x="194945" y="255628"/>
                  </a:cubicBezTo>
                  <a:cubicBezTo>
                    <a:pt x="194945" y="256263"/>
                    <a:pt x="194310" y="256263"/>
                    <a:pt x="194310" y="256898"/>
                  </a:cubicBezTo>
                  <a:cubicBezTo>
                    <a:pt x="193675" y="257533"/>
                    <a:pt x="193675" y="258168"/>
                    <a:pt x="193040" y="258168"/>
                  </a:cubicBezTo>
                  <a:cubicBezTo>
                    <a:pt x="192405" y="258803"/>
                    <a:pt x="192405" y="258803"/>
                    <a:pt x="191770" y="259438"/>
                  </a:cubicBezTo>
                  <a:cubicBezTo>
                    <a:pt x="191135" y="260073"/>
                    <a:pt x="191135" y="260073"/>
                    <a:pt x="190500" y="260708"/>
                  </a:cubicBezTo>
                  <a:cubicBezTo>
                    <a:pt x="189865" y="261343"/>
                    <a:pt x="189865" y="261343"/>
                    <a:pt x="189230" y="261343"/>
                  </a:cubicBezTo>
                  <a:cubicBezTo>
                    <a:pt x="188595" y="261978"/>
                    <a:pt x="188595" y="261978"/>
                    <a:pt x="187960" y="262613"/>
                  </a:cubicBezTo>
                  <a:lnTo>
                    <a:pt x="203200" y="253723"/>
                  </a:lnTo>
                  <a:cubicBezTo>
                    <a:pt x="210820" y="249278"/>
                    <a:pt x="215900" y="239753"/>
                    <a:pt x="215900" y="226418"/>
                  </a:cubicBezTo>
                  <a:cubicBezTo>
                    <a:pt x="215265" y="205463"/>
                    <a:pt x="203835" y="181333"/>
                    <a:pt x="187960" y="165458"/>
                  </a:cubicBezTo>
                  <a:close/>
                </a:path>
              </a:pathLst>
            </a:custGeom>
            <a:solidFill>
              <a:srgbClr val="B2B5C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5" name="任意多边形: 形状 9904"/>
            <p:cNvSpPr/>
            <p:nvPr/>
          </p:nvSpPr>
          <p:spPr>
            <a:xfrm>
              <a:off x="10708005" y="2268220"/>
              <a:ext cx="273050" cy="254000"/>
            </a:xfrm>
            <a:custGeom>
              <a:avLst/>
              <a:gdLst>
                <a:gd name="connsiteX0" fmla="*/ 266064 w 273050"/>
                <a:gd name="connsiteY0" fmla="*/ 249555 h 254000"/>
                <a:gd name="connsiteX1" fmla="*/ 267335 w 273050"/>
                <a:gd name="connsiteY1" fmla="*/ 248285 h 254000"/>
                <a:gd name="connsiteX2" fmla="*/ 268605 w 273050"/>
                <a:gd name="connsiteY2" fmla="*/ 247015 h 254000"/>
                <a:gd name="connsiteX3" fmla="*/ 269239 w 273050"/>
                <a:gd name="connsiteY3" fmla="*/ 245745 h 254000"/>
                <a:gd name="connsiteX4" fmla="*/ 270510 w 273050"/>
                <a:gd name="connsiteY4" fmla="*/ 243840 h 254000"/>
                <a:gd name="connsiteX5" fmla="*/ 271145 w 273050"/>
                <a:gd name="connsiteY5" fmla="*/ 242570 h 254000"/>
                <a:gd name="connsiteX6" fmla="*/ 271780 w 273050"/>
                <a:gd name="connsiteY6" fmla="*/ 240665 h 254000"/>
                <a:gd name="connsiteX7" fmla="*/ 272414 w 273050"/>
                <a:gd name="connsiteY7" fmla="*/ 239395 h 254000"/>
                <a:gd name="connsiteX8" fmla="*/ 273050 w 273050"/>
                <a:gd name="connsiteY8" fmla="*/ 236855 h 254000"/>
                <a:gd name="connsiteX9" fmla="*/ 273685 w 273050"/>
                <a:gd name="connsiteY9" fmla="*/ 235585 h 254000"/>
                <a:gd name="connsiteX10" fmla="*/ 274320 w 273050"/>
                <a:gd name="connsiteY10" fmla="*/ 232410 h 254000"/>
                <a:gd name="connsiteX11" fmla="*/ 274320 w 273050"/>
                <a:gd name="connsiteY11" fmla="*/ 231140 h 254000"/>
                <a:gd name="connsiteX12" fmla="*/ 274320 w 273050"/>
                <a:gd name="connsiteY12" fmla="*/ 226060 h 254000"/>
                <a:gd name="connsiteX13" fmla="*/ 247014 w 273050"/>
                <a:gd name="connsiteY13" fmla="*/ 164465 h 254000"/>
                <a:gd name="connsiteX14" fmla="*/ 194310 w 273050"/>
                <a:gd name="connsiteY14" fmla="*/ 85090 h 254000"/>
                <a:gd name="connsiteX15" fmla="*/ 186689 w 273050"/>
                <a:gd name="connsiteY15" fmla="*/ 81280 h 254000"/>
                <a:gd name="connsiteX16" fmla="*/ 128270 w 273050"/>
                <a:gd name="connsiteY16" fmla="*/ 12065 h 254000"/>
                <a:gd name="connsiteX17" fmla="*/ 121285 w 273050"/>
                <a:gd name="connsiteY17" fmla="*/ 8890 h 254000"/>
                <a:gd name="connsiteX18" fmla="*/ 119380 w 273050"/>
                <a:gd name="connsiteY18" fmla="*/ 8255 h 254000"/>
                <a:gd name="connsiteX19" fmla="*/ 114935 w 273050"/>
                <a:gd name="connsiteY19" fmla="*/ 6350 h 254000"/>
                <a:gd name="connsiteX20" fmla="*/ 113030 w 273050"/>
                <a:gd name="connsiteY20" fmla="*/ 5715 h 254000"/>
                <a:gd name="connsiteX21" fmla="*/ 108585 w 273050"/>
                <a:gd name="connsiteY21" fmla="*/ 4445 h 254000"/>
                <a:gd name="connsiteX22" fmla="*/ 106680 w 273050"/>
                <a:gd name="connsiteY22" fmla="*/ 3810 h 254000"/>
                <a:gd name="connsiteX23" fmla="*/ 100964 w 273050"/>
                <a:gd name="connsiteY23" fmla="*/ 3175 h 254000"/>
                <a:gd name="connsiteX24" fmla="*/ 99695 w 273050"/>
                <a:gd name="connsiteY24" fmla="*/ 3175 h 254000"/>
                <a:gd name="connsiteX25" fmla="*/ 95250 w 273050"/>
                <a:gd name="connsiteY25" fmla="*/ 3175 h 254000"/>
                <a:gd name="connsiteX26" fmla="*/ 93345 w 273050"/>
                <a:gd name="connsiteY26" fmla="*/ 3175 h 254000"/>
                <a:gd name="connsiteX27" fmla="*/ 89535 w 273050"/>
                <a:gd name="connsiteY27" fmla="*/ 3810 h 254000"/>
                <a:gd name="connsiteX28" fmla="*/ 87630 w 273050"/>
                <a:gd name="connsiteY28" fmla="*/ 3810 h 254000"/>
                <a:gd name="connsiteX29" fmla="*/ 83185 w 273050"/>
                <a:gd name="connsiteY29" fmla="*/ 5080 h 254000"/>
                <a:gd name="connsiteX30" fmla="*/ 82550 w 273050"/>
                <a:gd name="connsiteY30" fmla="*/ 5080 h 254000"/>
                <a:gd name="connsiteX31" fmla="*/ 78105 w 273050"/>
                <a:gd name="connsiteY31" fmla="*/ 6985 h 254000"/>
                <a:gd name="connsiteX32" fmla="*/ 69214 w 273050"/>
                <a:gd name="connsiteY32" fmla="*/ 14605 h 254000"/>
                <a:gd name="connsiteX33" fmla="*/ 60960 w 273050"/>
                <a:gd name="connsiteY33" fmla="*/ 27940 h 254000"/>
                <a:gd name="connsiteX34" fmla="*/ 57150 w 273050"/>
                <a:gd name="connsiteY34" fmla="*/ 25400 h 254000"/>
                <a:gd name="connsiteX35" fmla="*/ 51435 w 273050"/>
                <a:gd name="connsiteY35" fmla="*/ 22225 h 254000"/>
                <a:gd name="connsiteX36" fmla="*/ 49530 w 273050"/>
                <a:gd name="connsiteY36" fmla="*/ 21590 h 254000"/>
                <a:gd name="connsiteX37" fmla="*/ 46355 w 273050"/>
                <a:gd name="connsiteY37" fmla="*/ 20320 h 254000"/>
                <a:gd name="connsiteX38" fmla="*/ 44450 w 273050"/>
                <a:gd name="connsiteY38" fmla="*/ 19685 h 254000"/>
                <a:gd name="connsiteX39" fmla="*/ 41275 w 273050"/>
                <a:gd name="connsiteY39" fmla="*/ 19050 h 254000"/>
                <a:gd name="connsiteX40" fmla="*/ 39370 w 273050"/>
                <a:gd name="connsiteY40" fmla="*/ 18415 h 254000"/>
                <a:gd name="connsiteX41" fmla="*/ 36195 w 273050"/>
                <a:gd name="connsiteY41" fmla="*/ 17780 h 254000"/>
                <a:gd name="connsiteX42" fmla="*/ 34289 w 273050"/>
                <a:gd name="connsiteY42" fmla="*/ 17780 h 254000"/>
                <a:gd name="connsiteX43" fmla="*/ 31750 w 273050"/>
                <a:gd name="connsiteY43" fmla="*/ 17780 h 254000"/>
                <a:gd name="connsiteX44" fmla="*/ 29845 w 273050"/>
                <a:gd name="connsiteY44" fmla="*/ 17780 h 254000"/>
                <a:gd name="connsiteX45" fmla="*/ 27305 w 273050"/>
                <a:gd name="connsiteY45" fmla="*/ 17780 h 254000"/>
                <a:gd name="connsiteX46" fmla="*/ 25400 w 273050"/>
                <a:gd name="connsiteY46" fmla="*/ 18415 h 254000"/>
                <a:gd name="connsiteX47" fmla="*/ 22860 w 273050"/>
                <a:gd name="connsiteY47" fmla="*/ 19050 h 254000"/>
                <a:gd name="connsiteX48" fmla="*/ 20955 w 273050"/>
                <a:gd name="connsiteY48" fmla="*/ 19685 h 254000"/>
                <a:gd name="connsiteX49" fmla="*/ 19050 w 273050"/>
                <a:gd name="connsiteY49" fmla="*/ 20955 h 254000"/>
                <a:gd name="connsiteX50" fmla="*/ 3175 w 273050"/>
                <a:gd name="connsiteY50" fmla="*/ 55880 h 254000"/>
                <a:gd name="connsiteX51" fmla="*/ 57150 w 273050"/>
                <a:gd name="connsiteY51" fmla="*/ 149225 h 254000"/>
                <a:gd name="connsiteX52" fmla="*/ 231775 w 273050"/>
                <a:gd name="connsiteY52" fmla="*/ 250190 h 254000"/>
                <a:gd name="connsiteX53" fmla="*/ 263525 w 273050"/>
                <a:gd name="connsiteY53" fmla="*/ 252095 h 254000"/>
                <a:gd name="connsiteX54" fmla="*/ 264795 w 273050"/>
                <a:gd name="connsiteY54" fmla="*/ 251460 h 254000"/>
                <a:gd name="connsiteX55" fmla="*/ 266064 w 273050"/>
                <a:gd name="connsiteY55" fmla="*/ 249555 h 25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73050" h="254000">
                  <a:moveTo>
                    <a:pt x="266064" y="249555"/>
                  </a:moveTo>
                  <a:cubicBezTo>
                    <a:pt x="266700" y="248920"/>
                    <a:pt x="266700" y="248920"/>
                    <a:pt x="267335" y="248285"/>
                  </a:cubicBezTo>
                  <a:cubicBezTo>
                    <a:pt x="267970" y="247650"/>
                    <a:pt x="267970" y="247015"/>
                    <a:pt x="268605" y="247015"/>
                  </a:cubicBezTo>
                  <a:cubicBezTo>
                    <a:pt x="268605" y="246380"/>
                    <a:pt x="269239" y="246380"/>
                    <a:pt x="269239" y="245745"/>
                  </a:cubicBezTo>
                  <a:cubicBezTo>
                    <a:pt x="269875" y="245110"/>
                    <a:pt x="269875" y="244475"/>
                    <a:pt x="270510" y="243840"/>
                  </a:cubicBezTo>
                  <a:cubicBezTo>
                    <a:pt x="270510" y="243205"/>
                    <a:pt x="271145" y="243205"/>
                    <a:pt x="271145" y="242570"/>
                  </a:cubicBezTo>
                  <a:cubicBezTo>
                    <a:pt x="271145" y="241935"/>
                    <a:pt x="271780" y="241300"/>
                    <a:pt x="271780" y="240665"/>
                  </a:cubicBezTo>
                  <a:cubicBezTo>
                    <a:pt x="271780" y="240030"/>
                    <a:pt x="272414" y="239395"/>
                    <a:pt x="272414" y="239395"/>
                  </a:cubicBezTo>
                  <a:cubicBezTo>
                    <a:pt x="272414" y="238760"/>
                    <a:pt x="273050" y="237490"/>
                    <a:pt x="273050" y="236855"/>
                  </a:cubicBezTo>
                  <a:cubicBezTo>
                    <a:pt x="273050" y="236220"/>
                    <a:pt x="273050" y="235585"/>
                    <a:pt x="273685" y="235585"/>
                  </a:cubicBezTo>
                  <a:cubicBezTo>
                    <a:pt x="273685" y="234315"/>
                    <a:pt x="274320" y="233680"/>
                    <a:pt x="274320" y="232410"/>
                  </a:cubicBezTo>
                  <a:cubicBezTo>
                    <a:pt x="274320" y="231775"/>
                    <a:pt x="274320" y="231775"/>
                    <a:pt x="274320" y="231140"/>
                  </a:cubicBezTo>
                  <a:cubicBezTo>
                    <a:pt x="274320" y="229870"/>
                    <a:pt x="274320" y="227965"/>
                    <a:pt x="274320" y="226060"/>
                  </a:cubicBezTo>
                  <a:cubicBezTo>
                    <a:pt x="274320" y="205105"/>
                    <a:pt x="262889" y="180975"/>
                    <a:pt x="247014" y="164465"/>
                  </a:cubicBezTo>
                  <a:cubicBezTo>
                    <a:pt x="241935" y="133350"/>
                    <a:pt x="220345" y="100330"/>
                    <a:pt x="194310" y="85090"/>
                  </a:cubicBezTo>
                  <a:cubicBezTo>
                    <a:pt x="191770" y="83820"/>
                    <a:pt x="189230" y="82550"/>
                    <a:pt x="186689" y="81280"/>
                  </a:cubicBezTo>
                  <a:cubicBezTo>
                    <a:pt x="173989" y="52705"/>
                    <a:pt x="152400" y="26035"/>
                    <a:pt x="128270" y="12065"/>
                  </a:cubicBezTo>
                  <a:cubicBezTo>
                    <a:pt x="125730" y="10795"/>
                    <a:pt x="123825" y="9525"/>
                    <a:pt x="121285" y="8890"/>
                  </a:cubicBezTo>
                  <a:cubicBezTo>
                    <a:pt x="120650" y="8255"/>
                    <a:pt x="120014" y="8255"/>
                    <a:pt x="119380" y="8255"/>
                  </a:cubicBezTo>
                  <a:cubicBezTo>
                    <a:pt x="118110" y="7620"/>
                    <a:pt x="116205" y="6985"/>
                    <a:pt x="114935" y="6350"/>
                  </a:cubicBezTo>
                  <a:cubicBezTo>
                    <a:pt x="114300" y="6350"/>
                    <a:pt x="113664" y="5715"/>
                    <a:pt x="113030" y="5715"/>
                  </a:cubicBezTo>
                  <a:cubicBezTo>
                    <a:pt x="111760" y="5080"/>
                    <a:pt x="109855" y="5080"/>
                    <a:pt x="108585" y="4445"/>
                  </a:cubicBezTo>
                  <a:cubicBezTo>
                    <a:pt x="107950" y="4445"/>
                    <a:pt x="107314" y="4445"/>
                    <a:pt x="106680" y="3810"/>
                  </a:cubicBezTo>
                  <a:cubicBezTo>
                    <a:pt x="104775" y="3175"/>
                    <a:pt x="102870" y="3175"/>
                    <a:pt x="100964" y="3175"/>
                  </a:cubicBezTo>
                  <a:cubicBezTo>
                    <a:pt x="100330" y="3175"/>
                    <a:pt x="100330" y="3175"/>
                    <a:pt x="99695" y="3175"/>
                  </a:cubicBezTo>
                  <a:cubicBezTo>
                    <a:pt x="98425" y="3175"/>
                    <a:pt x="96520" y="3175"/>
                    <a:pt x="95250" y="3175"/>
                  </a:cubicBezTo>
                  <a:cubicBezTo>
                    <a:pt x="94614" y="3175"/>
                    <a:pt x="93980" y="3175"/>
                    <a:pt x="93345" y="3175"/>
                  </a:cubicBezTo>
                  <a:cubicBezTo>
                    <a:pt x="92075" y="3175"/>
                    <a:pt x="90805" y="3175"/>
                    <a:pt x="89535" y="3810"/>
                  </a:cubicBezTo>
                  <a:cubicBezTo>
                    <a:pt x="88900" y="3810"/>
                    <a:pt x="88264" y="3810"/>
                    <a:pt x="87630" y="3810"/>
                  </a:cubicBezTo>
                  <a:cubicBezTo>
                    <a:pt x="86360" y="4445"/>
                    <a:pt x="84455" y="4445"/>
                    <a:pt x="83185" y="5080"/>
                  </a:cubicBezTo>
                  <a:cubicBezTo>
                    <a:pt x="83185" y="5080"/>
                    <a:pt x="82550" y="5080"/>
                    <a:pt x="82550" y="5080"/>
                  </a:cubicBezTo>
                  <a:cubicBezTo>
                    <a:pt x="80645" y="5715"/>
                    <a:pt x="79375" y="6350"/>
                    <a:pt x="78105" y="6985"/>
                  </a:cubicBezTo>
                  <a:cubicBezTo>
                    <a:pt x="74930" y="8890"/>
                    <a:pt x="71755" y="11430"/>
                    <a:pt x="69214" y="14605"/>
                  </a:cubicBezTo>
                  <a:cubicBezTo>
                    <a:pt x="66039" y="18415"/>
                    <a:pt x="63500" y="22860"/>
                    <a:pt x="60960" y="27940"/>
                  </a:cubicBezTo>
                  <a:cubicBezTo>
                    <a:pt x="59689" y="27305"/>
                    <a:pt x="58420" y="26035"/>
                    <a:pt x="57150" y="25400"/>
                  </a:cubicBezTo>
                  <a:cubicBezTo>
                    <a:pt x="55245" y="24130"/>
                    <a:pt x="53339" y="23495"/>
                    <a:pt x="51435" y="22225"/>
                  </a:cubicBezTo>
                  <a:cubicBezTo>
                    <a:pt x="50800" y="22225"/>
                    <a:pt x="50164" y="21590"/>
                    <a:pt x="49530" y="21590"/>
                  </a:cubicBezTo>
                  <a:cubicBezTo>
                    <a:pt x="48260" y="20955"/>
                    <a:pt x="46989" y="20320"/>
                    <a:pt x="46355" y="20320"/>
                  </a:cubicBezTo>
                  <a:cubicBezTo>
                    <a:pt x="45720" y="20320"/>
                    <a:pt x="45085" y="19685"/>
                    <a:pt x="44450" y="19685"/>
                  </a:cubicBezTo>
                  <a:cubicBezTo>
                    <a:pt x="43180" y="19685"/>
                    <a:pt x="42545" y="19050"/>
                    <a:pt x="41275" y="19050"/>
                  </a:cubicBezTo>
                  <a:cubicBezTo>
                    <a:pt x="40639" y="19050"/>
                    <a:pt x="40005" y="19050"/>
                    <a:pt x="39370" y="18415"/>
                  </a:cubicBezTo>
                  <a:cubicBezTo>
                    <a:pt x="38100" y="18415"/>
                    <a:pt x="37464" y="17780"/>
                    <a:pt x="36195" y="17780"/>
                  </a:cubicBezTo>
                  <a:cubicBezTo>
                    <a:pt x="35560" y="17780"/>
                    <a:pt x="34925" y="17780"/>
                    <a:pt x="34289" y="17780"/>
                  </a:cubicBezTo>
                  <a:cubicBezTo>
                    <a:pt x="33655" y="17780"/>
                    <a:pt x="32385" y="17780"/>
                    <a:pt x="31750" y="17780"/>
                  </a:cubicBezTo>
                  <a:cubicBezTo>
                    <a:pt x="31114" y="17780"/>
                    <a:pt x="30480" y="17780"/>
                    <a:pt x="29845" y="17780"/>
                  </a:cubicBezTo>
                  <a:cubicBezTo>
                    <a:pt x="29210" y="17780"/>
                    <a:pt x="27939" y="17780"/>
                    <a:pt x="27305" y="17780"/>
                  </a:cubicBezTo>
                  <a:cubicBezTo>
                    <a:pt x="26670" y="17780"/>
                    <a:pt x="26035" y="18415"/>
                    <a:pt x="25400" y="18415"/>
                  </a:cubicBezTo>
                  <a:cubicBezTo>
                    <a:pt x="24764" y="18415"/>
                    <a:pt x="24130" y="19050"/>
                    <a:pt x="22860" y="19050"/>
                  </a:cubicBezTo>
                  <a:cubicBezTo>
                    <a:pt x="22225" y="19050"/>
                    <a:pt x="21589" y="19685"/>
                    <a:pt x="20955" y="19685"/>
                  </a:cubicBezTo>
                  <a:cubicBezTo>
                    <a:pt x="20320" y="19685"/>
                    <a:pt x="19685" y="20320"/>
                    <a:pt x="19050" y="20955"/>
                  </a:cubicBezTo>
                  <a:cubicBezTo>
                    <a:pt x="9525" y="26670"/>
                    <a:pt x="3175" y="38735"/>
                    <a:pt x="3175" y="55880"/>
                  </a:cubicBezTo>
                  <a:cubicBezTo>
                    <a:pt x="3175" y="90170"/>
                    <a:pt x="27305" y="131445"/>
                    <a:pt x="57150" y="149225"/>
                  </a:cubicBezTo>
                  <a:lnTo>
                    <a:pt x="231775" y="250190"/>
                  </a:lnTo>
                  <a:cubicBezTo>
                    <a:pt x="244475" y="257175"/>
                    <a:pt x="255905" y="257810"/>
                    <a:pt x="263525" y="252095"/>
                  </a:cubicBezTo>
                  <a:cubicBezTo>
                    <a:pt x="264160" y="252095"/>
                    <a:pt x="264160" y="251460"/>
                    <a:pt x="264795" y="251460"/>
                  </a:cubicBezTo>
                  <a:cubicBezTo>
                    <a:pt x="265430" y="250825"/>
                    <a:pt x="265430" y="250190"/>
                    <a:pt x="266064" y="249555"/>
                  </a:cubicBezTo>
                  <a:close/>
                </a:path>
              </a:pathLst>
            </a:custGeom>
            <a:solidFill>
              <a:srgbClr val="FFFFF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6" name="任意多边形: 形状 9905"/>
            <p:cNvSpPr/>
            <p:nvPr/>
          </p:nvSpPr>
          <p:spPr>
            <a:xfrm>
              <a:off x="6754813" y="2256444"/>
              <a:ext cx="406400" cy="495300"/>
            </a:xfrm>
            <a:custGeom>
              <a:avLst/>
              <a:gdLst>
                <a:gd name="connsiteX0" fmla="*/ 352107 w 406400"/>
                <a:gd name="connsiteY0" fmla="*/ 309592 h 495300"/>
                <a:gd name="connsiteX1" fmla="*/ 253682 w 406400"/>
                <a:gd name="connsiteY1" fmla="*/ 160367 h 495300"/>
                <a:gd name="connsiteX2" fmla="*/ 239078 w 406400"/>
                <a:gd name="connsiteY2" fmla="*/ 153381 h 495300"/>
                <a:gd name="connsiteX3" fmla="*/ 129222 w 406400"/>
                <a:gd name="connsiteY3" fmla="*/ 23206 h 495300"/>
                <a:gd name="connsiteX4" fmla="*/ 33972 w 406400"/>
                <a:gd name="connsiteY4" fmla="*/ 13681 h 495300"/>
                <a:gd name="connsiteX5" fmla="*/ 4763 w 406400"/>
                <a:gd name="connsiteY5" fmla="*/ 30827 h 495300"/>
                <a:gd name="connsiteX6" fmla="*/ 5397 w 406400"/>
                <a:gd name="connsiteY6" fmla="*/ 30191 h 495300"/>
                <a:gd name="connsiteX7" fmla="*/ 14288 w 406400"/>
                <a:gd name="connsiteY7" fmla="*/ 26381 h 495300"/>
                <a:gd name="connsiteX8" fmla="*/ 15557 w 406400"/>
                <a:gd name="connsiteY8" fmla="*/ 25746 h 495300"/>
                <a:gd name="connsiteX9" fmla="*/ 23813 w 406400"/>
                <a:gd name="connsiteY9" fmla="*/ 23206 h 495300"/>
                <a:gd name="connsiteX10" fmla="*/ 26988 w 406400"/>
                <a:gd name="connsiteY10" fmla="*/ 22571 h 495300"/>
                <a:gd name="connsiteX11" fmla="*/ 33972 w 406400"/>
                <a:gd name="connsiteY11" fmla="*/ 21936 h 495300"/>
                <a:gd name="connsiteX12" fmla="*/ 37147 w 406400"/>
                <a:gd name="connsiteY12" fmla="*/ 21936 h 495300"/>
                <a:gd name="connsiteX13" fmla="*/ 45403 w 406400"/>
                <a:gd name="connsiteY13" fmla="*/ 21936 h 495300"/>
                <a:gd name="connsiteX14" fmla="*/ 47943 w 406400"/>
                <a:gd name="connsiteY14" fmla="*/ 21936 h 495300"/>
                <a:gd name="connsiteX15" fmla="*/ 59372 w 406400"/>
                <a:gd name="connsiteY15" fmla="*/ 23841 h 495300"/>
                <a:gd name="connsiteX16" fmla="*/ 62547 w 406400"/>
                <a:gd name="connsiteY16" fmla="*/ 24477 h 495300"/>
                <a:gd name="connsiteX17" fmla="*/ 71438 w 406400"/>
                <a:gd name="connsiteY17" fmla="*/ 27016 h 495300"/>
                <a:gd name="connsiteX18" fmla="*/ 75247 w 406400"/>
                <a:gd name="connsiteY18" fmla="*/ 28286 h 495300"/>
                <a:gd name="connsiteX19" fmla="*/ 84138 w 406400"/>
                <a:gd name="connsiteY19" fmla="*/ 31461 h 495300"/>
                <a:gd name="connsiteX20" fmla="*/ 87947 w 406400"/>
                <a:gd name="connsiteY20" fmla="*/ 33366 h 495300"/>
                <a:gd name="connsiteX21" fmla="*/ 100647 w 406400"/>
                <a:gd name="connsiteY21" fmla="*/ 39716 h 495300"/>
                <a:gd name="connsiteX22" fmla="*/ 210503 w 406400"/>
                <a:gd name="connsiteY22" fmla="*/ 169892 h 495300"/>
                <a:gd name="connsiteX23" fmla="*/ 225107 w 406400"/>
                <a:gd name="connsiteY23" fmla="*/ 176877 h 495300"/>
                <a:gd name="connsiteX24" fmla="*/ 323532 w 406400"/>
                <a:gd name="connsiteY24" fmla="*/ 326102 h 495300"/>
                <a:gd name="connsiteX25" fmla="*/ 374332 w 406400"/>
                <a:gd name="connsiteY25" fmla="*/ 441036 h 495300"/>
                <a:gd name="connsiteX26" fmla="*/ 373697 w 406400"/>
                <a:gd name="connsiteY26" fmla="*/ 449927 h 495300"/>
                <a:gd name="connsiteX27" fmla="*/ 373063 w 406400"/>
                <a:gd name="connsiteY27" fmla="*/ 452467 h 495300"/>
                <a:gd name="connsiteX28" fmla="*/ 372428 w 406400"/>
                <a:gd name="connsiteY28" fmla="*/ 458181 h 495300"/>
                <a:gd name="connsiteX29" fmla="*/ 371793 w 406400"/>
                <a:gd name="connsiteY29" fmla="*/ 461356 h 495300"/>
                <a:gd name="connsiteX30" fmla="*/ 370522 w 406400"/>
                <a:gd name="connsiteY30" fmla="*/ 465802 h 495300"/>
                <a:gd name="connsiteX31" fmla="*/ 369253 w 406400"/>
                <a:gd name="connsiteY31" fmla="*/ 468977 h 495300"/>
                <a:gd name="connsiteX32" fmla="*/ 367982 w 406400"/>
                <a:gd name="connsiteY32" fmla="*/ 472786 h 495300"/>
                <a:gd name="connsiteX33" fmla="*/ 366713 w 406400"/>
                <a:gd name="connsiteY33" fmla="*/ 475327 h 495300"/>
                <a:gd name="connsiteX34" fmla="*/ 364807 w 406400"/>
                <a:gd name="connsiteY34" fmla="*/ 478502 h 495300"/>
                <a:gd name="connsiteX35" fmla="*/ 362903 w 406400"/>
                <a:gd name="connsiteY35" fmla="*/ 481042 h 495300"/>
                <a:gd name="connsiteX36" fmla="*/ 360363 w 406400"/>
                <a:gd name="connsiteY36" fmla="*/ 484217 h 495300"/>
                <a:gd name="connsiteX37" fmla="*/ 358457 w 406400"/>
                <a:gd name="connsiteY37" fmla="*/ 486121 h 495300"/>
                <a:gd name="connsiteX38" fmla="*/ 355918 w 406400"/>
                <a:gd name="connsiteY38" fmla="*/ 488661 h 495300"/>
                <a:gd name="connsiteX39" fmla="*/ 353378 w 406400"/>
                <a:gd name="connsiteY39" fmla="*/ 490567 h 495300"/>
                <a:gd name="connsiteX40" fmla="*/ 350838 w 406400"/>
                <a:gd name="connsiteY40" fmla="*/ 492471 h 495300"/>
                <a:gd name="connsiteX41" fmla="*/ 380047 w 406400"/>
                <a:gd name="connsiteY41" fmla="*/ 475327 h 495300"/>
                <a:gd name="connsiteX42" fmla="*/ 403543 w 406400"/>
                <a:gd name="connsiteY42" fmla="*/ 423892 h 495300"/>
                <a:gd name="connsiteX43" fmla="*/ 352107 w 406400"/>
                <a:gd name="connsiteY43" fmla="*/ 309592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06400" h="495300">
                  <a:moveTo>
                    <a:pt x="352107" y="309592"/>
                  </a:moveTo>
                  <a:cubicBezTo>
                    <a:pt x="342582" y="251171"/>
                    <a:pt x="301943" y="188306"/>
                    <a:pt x="253682" y="160367"/>
                  </a:cubicBezTo>
                  <a:cubicBezTo>
                    <a:pt x="248603" y="157192"/>
                    <a:pt x="243522" y="155286"/>
                    <a:pt x="239078" y="153381"/>
                  </a:cubicBezTo>
                  <a:cubicBezTo>
                    <a:pt x="214947" y="99406"/>
                    <a:pt x="174943" y="49877"/>
                    <a:pt x="129222" y="23206"/>
                  </a:cubicBezTo>
                  <a:cubicBezTo>
                    <a:pt x="91757" y="1616"/>
                    <a:pt x="58103" y="-289"/>
                    <a:pt x="33972" y="13681"/>
                  </a:cubicBezTo>
                  <a:lnTo>
                    <a:pt x="4763" y="30827"/>
                  </a:lnTo>
                  <a:cubicBezTo>
                    <a:pt x="4763" y="30827"/>
                    <a:pt x="5397" y="30827"/>
                    <a:pt x="5397" y="30191"/>
                  </a:cubicBezTo>
                  <a:cubicBezTo>
                    <a:pt x="7938" y="28921"/>
                    <a:pt x="11113" y="27016"/>
                    <a:pt x="14288" y="26381"/>
                  </a:cubicBezTo>
                  <a:cubicBezTo>
                    <a:pt x="14922" y="26381"/>
                    <a:pt x="14922" y="26381"/>
                    <a:pt x="15557" y="25746"/>
                  </a:cubicBezTo>
                  <a:cubicBezTo>
                    <a:pt x="18097" y="25111"/>
                    <a:pt x="20638" y="23841"/>
                    <a:pt x="23813" y="23206"/>
                  </a:cubicBezTo>
                  <a:cubicBezTo>
                    <a:pt x="25082" y="23206"/>
                    <a:pt x="25718" y="22571"/>
                    <a:pt x="26988" y="22571"/>
                  </a:cubicBezTo>
                  <a:cubicBezTo>
                    <a:pt x="29528" y="21936"/>
                    <a:pt x="31432" y="21936"/>
                    <a:pt x="33972" y="21936"/>
                  </a:cubicBezTo>
                  <a:cubicBezTo>
                    <a:pt x="35243" y="21936"/>
                    <a:pt x="36513" y="21936"/>
                    <a:pt x="37147" y="21936"/>
                  </a:cubicBezTo>
                  <a:cubicBezTo>
                    <a:pt x="39688" y="21936"/>
                    <a:pt x="42863" y="21936"/>
                    <a:pt x="45403" y="21936"/>
                  </a:cubicBezTo>
                  <a:cubicBezTo>
                    <a:pt x="46038" y="21936"/>
                    <a:pt x="46672" y="21936"/>
                    <a:pt x="47943" y="21936"/>
                  </a:cubicBezTo>
                  <a:cubicBezTo>
                    <a:pt x="51753" y="22571"/>
                    <a:pt x="55563" y="22571"/>
                    <a:pt x="59372" y="23841"/>
                  </a:cubicBezTo>
                  <a:cubicBezTo>
                    <a:pt x="60643" y="23841"/>
                    <a:pt x="61278" y="24477"/>
                    <a:pt x="62547" y="24477"/>
                  </a:cubicBezTo>
                  <a:cubicBezTo>
                    <a:pt x="65722" y="25111"/>
                    <a:pt x="68263" y="25746"/>
                    <a:pt x="71438" y="27016"/>
                  </a:cubicBezTo>
                  <a:cubicBezTo>
                    <a:pt x="72707" y="27652"/>
                    <a:pt x="73978" y="27652"/>
                    <a:pt x="75247" y="28286"/>
                  </a:cubicBezTo>
                  <a:cubicBezTo>
                    <a:pt x="77788" y="29556"/>
                    <a:pt x="80963" y="30191"/>
                    <a:pt x="84138" y="31461"/>
                  </a:cubicBezTo>
                  <a:cubicBezTo>
                    <a:pt x="85407" y="32096"/>
                    <a:pt x="86678" y="32731"/>
                    <a:pt x="87947" y="33366"/>
                  </a:cubicBezTo>
                  <a:cubicBezTo>
                    <a:pt x="92393" y="35271"/>
                    <a:pt x="96203" y="37177"/>
                    <a:pt x="100647" y="39716"/>
                  </a:cubicBezTo>
                  <a:cubicBezTo>
                    <a:pt x="146368" y="65752"/>
                    <a:pt x="186372" y="115281"/>
                    <a:pt x="210503" y="169892"/>
                  </a:cubicBezTo>
                  <a:cubicBezTo>
                    <a:pt x="215582" y="171796"/>
                    <a:pt x="220028" y="174336"/>
                    <a:pt x="225107" y="176877"/>
                  </a:cubicBezTo>
                  <a:cubicBezTo>
                    <a:pt x="274003" y="204817"/>
                    <a:pt x="314007" y="267681"/>
                    <a:pt x="323532" y="326102"/>
                  </a:cubicBezTo>
                  <a:cubicBezTo>
                    <a:pt x="353378" y="356581"/>
                    <a:pt x="374332" y="402302"/>
                    <a:pt x="374332" y="441036"/>
                  </a:cubicBezTo>
                  <a:cubicBezTo>
                    <a:pt x="374332" y="444211"/>
                    <a:pt x="374332" y="447386"/>
                    <a:pt x="373697" y="449927"/>
                  </a:cubicBezTo>
                  <a:cubicBezTo>
                    <a:pt x="373697" y="450561"/>
                    <a:pt x="373697" y="451831"/>
                    <a:pt x="373063" y="452467"/>
                  </a:cubicBezTo>
                  <a:cubicBezTo>
                    <a:pt x="373063" y="454371"/>
                    <a:pt x="372428" y="456277"/>
                    <a:pt x="372428" y="458181"/>
                  </a:cubicBezTo>
                  <a:cubicBezTo>
                    <a:pt x="372428" y="459452"/>
                    <a:pt x="371793" y="460086"/>
                    <a:pt x="371793" y="461356"/>
                  </a:cubicBezTo>
                  <a:cubicBezTo>
                    <a:pt x="371157" y="463261"/>
                    <a:pt x="371157" y="464531"/>
                    <a:pt x="370522" y="465802"/>
                  </a:cubicBezTo>
                  <a:cubicBezTo>
                    <a:pt x="369888" y="467071"/>
                    <a:pt x="369888" y="467706"/>
                    <a:pt x="369253" y="468977"/>
                  </a:cubicBezTo>
                  <a:cubicBezTo>
                    <a:pt x="368618" y="470246"/>
                    <a:pt x="367982" y="471517"/>
                    <a:pt x="367982" y="472786"/>
                  </a:cubicBezTo>
                  <a:cubicBezTo>
                    <a:pt x="367347" y="473421"/>
                    <a:pt x="366713" y="474692"/>
                    <a:pt x="366713" y="475327"/>
                  </a:cubicBezTo>
                  <a:cubicBezTo>
                    <a:pt x="366078" y="476596"/>
                    <a:pt x="365443" y="477867"/>
                    <a:pt x="364807" y="478502"/>
                  </a:cubicBezTo>
                  <a:cubicBezTo>
                    <a:pt x="364172" y="479136"/>
                    <a:pt x="363538" y="479771"/>
                    <a:pt x="362903" y="481042"/>
                  </a:cubicBezTo>
                  <a:cubicBezTo>
                    <a:pt x="362268" y="482311"/>
                    <a:pt x="361632" y="482946"/>
                    <a:pt x="360363" y="484217"/>
                  </a:cubicBezTo>
                  <a:cubicBezTo>
                    <a:pt x="359728" y="484852"/>
                    <a:pt x="359093" y="485486"/>
                    <a:pt x="358457" y="486121"/>
                  </a:cubicBezTo>
                  <a:cubicBezTo>
                    <a:pt x="357822" y="486756"/>
                    <a:pt x="356553" y="488027"/>
                    <a:pt x="355918" y="488661"/>
                  </a:cubicBezTo>
                  <a:cubicBezTo>
                    <a:pt x="355282" y="489296"/>
                    <a:pt x="354647" y="489931"/>
                    <a:pt x="353378" y="490567"/>
                  </a:cubicBezTo>
                  <a:cubicBezTo>
                    <a:pt x="352743" y="491202"/>
                    <a:pt x="351472" y="491836"/>
                    <a:pt x="350838" y="492471"/>
                  </a:cubicBezTo>
                  <a:lnTo>
                    <a:pt x="380047" y="475327"/>
                  </a:lnTo>
                  <a:cubicBezTo>
                    <a:pt x="394653" y="467071"/>
                    <a:pt x="403543" y="449292"/>
                    <a:pt x="403543" y="423892"/>
                  </a:cubicBezTo>
                  <a:cubicBezTo>
                    <a:pt x="402907" y="385792"/>
                    <a:pt x="381953" y="340706"/>
                    <a:pt x="352107" y="309592"/>
                  </a:cubicBezTo>
                  <a:close/>
                </a:path>
              </a:pathLst>
            </a:custGeom>
            <a:solidFill>
              <a:srgbClr val="B2B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7" name="任意多边形: 形状 9906"/>
            <p:cNvSpPr/>
            <p:nvPr/>
          </p:nvSpPr>
          <p:spPr>
            <a:xfrm>
              <a:off x="6613843" y="2274888"/>
              <a:ext cx="514350" cy="482600"/>
            </a:xfrm>
            <a:custGeom>
              <a:avLst/>
              <a:gdLst>
                <a:gd name="connsiteX0" fmla="*/ 498792 w 514350"/>
                <a:gd name="connsiteY0" fmla="*/ 468948 h 482600"/>
                <a:gd name="connsiteX1" fmla="*/ 500697 w 514350"/>
                <a:gd name="connsiteY1" fmla="*/ 467042 h 482600"/>
                <a:gd name="connsiteX2" fmla="*/ 503238 w 514350"/>
                <a:gd name="connsiteY2" fmla="*/ 463867 h 482600"/>
                <a:gd name="connsiteX3" fmla="*/ 505142 w 514350"/>
                <a:gd name="connsiteY3" fmla="*/ 461327 h 482600"/>
                <a:gd name="connsiteX4" fmla="*/ 507047 w 514350"/>
                <a:gd name="connsiteY4" fmla="*/ 458152 h 482600"/>
                <a:gd name="connsiteX5" fmla="*/ 508317 w 514350"/>
                <a:gd name="connsiteY5" fmla="*/ 455613 h 482600"/>
                <a:gd name="connsiteX6" fmla="*/ 509588 w 514350"/>
                <a:gd name="connsiteY6" fmla="*/ 451802 h 482600"/>
                <a:gd name="connsiteX7" fmla="*/ 510857 w 514350"/>
                <a:gd name="connsiteY7" fmla="*/ 448627 h 482600"/>
                <a:gd name="connsiteX8" fmla="*/ 512127 w 514350"/>
                <a:gd name="connsiteY8" fmla="*/ 444183 h 482600"/>
                <a:gd name="connsiteX9" fmla="*/ 512763 w 514350"/>
                <a:gd name="connsiteY9" fmla="*/ 441008 h 482600"/>
                <a:gd name="connsiteX10" fmla="*/ 513397 w 514350"/>
                <a:gd name="connsiteY10" fmla="*/ 435292 h 482600"/>
                <a:gd name="connsiteX11" fmla="*/ 514032 w 514350"/>
                <a:gd name="connsiteY11" fmla="*/ 432752 h 482600"/>
                <a:gd name="connsiteX12" fmla="*/ 514667 w 514350"/>
                <a:gd name="connsiteY12" fmla="*/ 423863 h 482600"/>
                <a:gd name="connsiteX13" fmla="*/ 463867 w 514350"/>
                <a:gd name="connsiteY13" fmla="*/ 308927 h 482600"/>
                <a:gd name="connsiteX14" fmla="*/ 365442 w 514350"/>
                <a:gd name="connsiteY14" fmla="*/ 159702 h 482600"/>
                <a:gd name="connsiteX15" fmla="*/ 350838 w 514350"/>
                <a:gd name="connsiteY15" fmla="*/ 152717 h 482600"/>
                <a:gd name="connsiteX16" fmla="*/ 240982 w 514350"/>
                <a:gd name="connsiteY16" fmla="*/ 22542 h 482600"/>
                <a:gd name="connsiteX17" fmla="*/ 228282 w 514350"/>
                <a:gd name="connsiteY17" fmla="*/ 16192 h 482600"/>
                <a:gd name="connsiteX18" fmla="*/ 224472 w 514350"/>
                <a:gd name="connsiteY18" fmla="*/ 14288 h 482600"/>
                <a:gd name="connsiteX19" fmla="*/ 215582 w 514350"/>
                <a:gd name="connsiteY19" fmla="*/ 11113 h 482600"/>
                <a:gd name="connsiteX20" fmla="*/ 211772 w 514350"/>
                <a:gd name="connsiteY20" fmla="*/ 9842 h 482600"/>
                <a:gd name="connsiteX21" fmla="*/ 202882 w 514350"/>
                <a:gd name="connsiteY21" fmla="*/ 7302 h 482600"/>
                <a:gd name="connsiteX22" fmla="*/ 199707 w 514350"/>
                <a:gd name="connsiteY22" fmla="*/ 6667 h 482600"/>
                <a:gd name="connsiteX23" fmla="*/ 188277 w 514350"/>
                <a:gd name="connsiteY23" fmla="*/ 4763 h 482600"/>
                <a:gd name="connsiteX24" fmla="*/ 185738 w 514350"/>
                <a:gd name="connsiteY24" fmla="*/ 4763 h 482600"/>
                <a:gd name="connsiteX25" fmla="*/ 177482 w 514350"/>
                <a:gd name="connsiteY25" fmla="*/ 4763 h 482600"/>
                <a:gd name="connsiteX26" fmla="*/ 174307 w 514350"/>
                <a:gd name="connsiteY26" fmla="*/ 4763 h 482600"/>
                <a:gd name="connsiteX27" fmla="*/ 167322 w 514350"/>
                <a:gd name="connsiteY27" fmla="*/ 5398 h 482600"/>
                <a:gd name="connsiteX28" fmla="*/ 164147 w 514350"/>
                <a:gd name="connsiteY28" fmla="*/ 6033 h 482600"/>
                <a:gd name="connsiteX29" fmla="*/ 155892 w 514350"/>
                <a:gd name="connsiteY29" fmla="*/ 8573 h 482600"/>
                <a:gd name="connsiteX30" fmla="*/ 154622 w 514350"/>
                <a:gd name="connsiteY30" fmla="*/ 9208 h 482600"/>
                <a:gd name="connsiteX31" fmla="*/ 145732 w 514350"/>
                <a:gd name="connsiteY31" fmla="*/ 13017 h 482600"/>
                <a:gd name="connsiteX32" fmla="*/ 128588 w 514350"/>
                <a:gd name="connsiteY32" fmla="*/ 26988 h 482600"/>
                <a:gd name="connsiteX33" fmla="*/ 113982 w 514350"/>
                <a:gd name="connsiteY33" fmla="*/ 52388 h 482600"/>
                <a:gd name="connsiteX34" fmla="*/ 106363 w 514350"/>
                <a:gd name="connsiteY34" fmla="*/ 47308 h 482600"/>
                <a:gd name="connsiteX35" fmla="*/ 96202 w 514350"/>
                <a:gd name="connsiteY35" fmla="*/ 42227 h 482600"/>
                <a:gd name="connsiteX36" fmla="*/ 92392 w 514350"/>
                <a:gd name="connsiteY36" fmla="*/ 40958 h 482600"/>
                <a:gd name="connsiteX37" fmla="*/ 86042 w 514350"/>
                <a:gd name="connsiteY37" fmla="*/ 38417 h 482600"/>
                <a:gd name="connsiteX38" fmla="*/ 82232 w 514350"/>
                <a:gd name="connsiteY38" fmla="*/ 37148 h 482600"/>
                <a:gd name="connsiteX39" fmla="*/ 76517 w 514350"/>
                <a:gd name="connsiteY39" fmla="*/ 35242 h 482600"/>
                <a:gd name="connsiteX40" fmla="*/ 72707 w 514350"/>
                <a:gd name="connsiteY40" fmla="*/ 34608 h 482600"/>
                <a:gd name="connsiteX41" fmla="*/ 66992 w 514350"/>
                <a:gd name="connsiteY41" fmla="*/ 33973 h 482600"/>
                <a:gd name="connsiteX42" fmla="*/ 63182 w 514350"/>
                <a:gd name="connsiteY42" fmla="*/ 33973 h 482600"/>
                <a:gd name="connsiteX43" fmla="*/ 58102 w 514350"/>
                <a:gd name="connsiteY43" fmla="*/ 33973 h 482600"/>
                <a:gd name="connsiteX44" fmla="*/ 54292 w 514350"/>
                <a:gd name="connsiteY44" fmla="*/ 34608 h 482600"/>
                <a:gd name="connsiteX45" fmla="*/ 49847 w 514350"/>
                <a:gd name="connsiteY45" fmla="*/ 35242 h 482600"/>
                <a:gd name="connsiteX46" fmla="*/ 46038 w 514350"/>
                <a:gd name="connsiteY46" fmla="*/ 36513 h 482600"/>
                <a:gd name="connsiteX47" fmla="*/ 41592 w 514350"/>
                <a:gd name="connsiteY47" fmla="*/ 37783 h 482600"/>
                <a:gd name="connsiteX48" fmla="*/ 38417 w 514350"/>
                <a:gd name="connsiteY48" fmla="*/ 39052 h 482600"/>
                <a:gd name="connsiteX49" fmla="*/ 34607 w 514350"/>
                <a:gd name="connsiteY49" fmla="*/ 40958 h 482600"/>
                <a:gd name="connsiteX50" fmla="*/ 4763 w 514350"/>
                <a:gd name="connsiteY50" fmla="*/ 105727 h 482600"/>
                <a:gd name="connsiteX51" fmla="*/ 105727 w 514350"/>
                <a:gd name="connsiteY51" fmla="*/ 280352 h 482600"/>
                <a:gd name="connsiteX52" fmla="*/ 434657 w 514350"/>
                <a:gd name="connsiteY52" fmla="*/ 470217 h 482600"/>
                <a:gd name="connsiteX53" fmla="*/ 494347 w 514350"/>
                <a:gd name="connsiteY53" fmla="*/ 474027 h 482600"/>
                <a:gd name="connsiteX54" fmla="*/ 496888 w 514350"/>
                <a:gd name="connsiteY54" fmla="*/ 472123 h 482600"/>
                <a:gd name="connsiteX55" fmla="*/ 498792 w 514350"/>
                <a:gd name="connsiteY55" fmla="*/ 468948 h 48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514350" h="482600">
                  <a:moveTo>
                    <a:pt x="498792" y="468948"/>
                  </a:moveTo>
                  <a:cubicBezTo>
                    <a:pt x="499427" y="468313"/>
                    <a:pt x="500063" y="467677"/>
                    <a:pt x="500697" y="467042"/>
                  </a:cubicBezTo>
                  <a:cubicBezTo>
                    <a:pt x="501332" y="466408"/>
                    <a:pt x="501967" y="465138"/>
                    <a:pt x="503238" y="463867"/>
                  </a:cubicBezTo>
                  <a:cubicBezTo>
                    <a:pt x="503872" y="463233"/>
                    <a:pt x="504507" y="462598"/>
                    <a:pt x="505142" y="461327"/>
                  </a:cubicBezTo>
                  <a:cubicBezTo>
                    <a:pt x="505777" y="460058"/>
                    <a:pt x="506413" y="458788"/>
                    <a:pt x="507047" y="458152"/>
                  </a:cubicBezTo>
                  <a:cubicBezTo>
                    <a:pt x="507682" y="457517"/>
                    <a:pt x="508317" y="456248"/>
                    <a:pt x="508317" y="455613"/>
                  </a:cubicBezTo>
                  <a:cubicBezTo>
                    <a:pt x="508952" y="454342"/>
                    <a:pt x="509588" y="453073"/>
                    <a:pt x="509588" y="451802"/>
                  </a:cubicBezTo>
                  <a:cubicBezTo>
                    <a:pt x="510222" y="450533"/>
                    <a:pt x="510222" y="449898"/>
                    <a:pt x="510857" y="448627"/>
                  </a:cubicBezTo>
                  <a:cubicBezTo>
                    <a:pt x="511492" y="447358"/>
                    <a:pt x="511492" y="445452"/>
                    <a:pt x="512127" y="444183"/>
                  </a:cubicBezTo>
                  <a:cubicBezTo>
                    <a:pt x="512127" y="442913"/>
                    <a:pt x="512763" y="442277"/>
                    <a:pt x="512763" y="441008"/>
                  </a:cubicBezTo>
                  <a:cubicBezTo>
                    <a:pt x="513397" y="439102"/>
                    <a:pt x="513397" y="437198"/>
                    <a:pt x="513397" y="435292"/>
                  </a:cubicBezTo>
                  <a:cubicBezTo>
                    <a:pt x="513397" y="434658"/>
                    <a:pt x="513397" y="433388"/>
                    <a:pt x="514032" y="432752"/>
                  </a:cubicBezTo>
                  <a:cubicBezTo>
                    <a:pt x="514032" y="429577"/>
                    <a:pt x="514667" y="427038"/>
                    <a:pt x="514667" y="423863"/>
                  </a:cubicBezTo>
                  <a:cubicBezTo>
                    <a:pt x="514667" y="385127"/>
                    <a:pt x="493713" y="339408"/>
                    <a:pt x="463867" y="308927"/>
                  </a:cubicBezTo>
                  <a:cubicBezTo>
                    <a:pt x="454342" y="250508"/>
                    <a:pt x="413702" y="187642"/>
                    <a:pt x="365442" y="159702"/>
                  </a:cubicBezTo>
                  <a:cubicBezTo>
                    <a:pt x="360363" y="156527"/>
                    <a:pt x="355282" y="154623"/>
                    <a:pt x="350838" y="152717"/>
                  </a:cubicBezTo>
                  <a:cubicBezTo>
                    <a:pt x="326707" y="98742"/>
                    <a:pt x="286702" y="49213"/>
                    <a:pt x="240982" y="22542"/>
                  </a:cubicBezTo>
                  <a:cubicBezTo>
                    <a:pt x="236538" y="20002"/>
                    <a:pt x="232727" y="18098"/>
                    <a:pt x="228282" y="16192"/>
                  </a:cubicBezTo>
                  <a:cubicBezTo>
                    <a:pt x="227013" y="15558"/>
                    <a:pt x="225742" y="14923"/>
                    <a:pt x="224472" y="14288"/>
                  </a:cubicBezTo>
                  <a:cubicBezTo>
                    <a:pt x="221297" y="13017"/>
                    <a:pt x="218757" y="11748"/>
                    <a:pt x="215582" y="11113"/>
                  </a:cubicBezTo>
                  <a:cubicBezTo>
                    <a:pt x="214313" y="10477"/>
                    <a:pt x="213042" y="9842"/>
                    <a:pt x="211772" y="9842"/>
                  </a:cubicBezTo>
                  <a:cubicBezTo>
                    <a:pt x="208597" y="8573"/>
                    <a:pt x="206057" y="7938"/>
                    <a:pt x="202882" y="7302"/>
                  </a:cubicBezTo>
                  <a:cubicBezTo>
                    <a:pt x="201613" y="7302"/>
                    <a:pt x="200977" y="6667"/>
                    <a:pt x="199707" y="6667"/>
                  </a:cubicBezTo>
                  <a:cubicBezTo>
                    <a:pt x="195897" y="6033"/>
                    <a:pt x="192088" y="5398"/>
                    <a:pt x="188277" y="4763"/>
                  </a:cubicBezTo>
                  <a:cubicBezTo>
                    <a:pt x="187642" y="4763"/>
                    <a:pt x="187007" y="4763"/>
                    <a:pt x="185738" y="4763"/>
                  </a:cubicBezTo>
                  <a:cubicBezTo>
                    <a:pt x="182563" y="4763"/>
                    <a:pt x="180022" y="4763"/>
                    <a:pt x="177482" y="4763"/>
                  </a:cubicBezTo>
                  <a:cubicBezTo>
                    <a:pt x="176213" y="4763"/>
                    <a:pt x="174942" y="4763"/>
                    <a:pt x="174307" y="4763"/>
                  </a:cubicBezTo>
                  <a:cubicBezTo>
                    <a:pt x="171767" y="4763"/>
                    <a:pt x="169227" y="5398"/>
                    <a:pt x="167322" y="5398"/>
                  </a:cubicBezTo>
                  <a:cubicBezTo>
                    <a:pt x="166052" y="5398"/>
                    <a:pt x="165417" y="6033"/>
                    <a:pt x="164147" y="6033"/>
                  </a:cubicBezTo>
                  <a:cubicBezTo>
                    <a:pt x="161607" y="6667"/>
                    <a:pt x="158432" y="7302"/>
                    <a:pt x="155892" y="8573"/>
                  </a:cubicBezTo>
                  <a:cubicBezTo>
                    <a:pt x="155257" y="8573"/>
                    <a:pt x="155257" y="8573"/>
                    <a:pt x="154622" y="9208"/>
                  </a:cubicBezTo>
                  <a:cubicBezTo>
                    <a:pt x="151447" y="10477"/>
                    <a:pt x="148907" y="11748"/>
                    <a:pt x="145732" y="13017"/>
                  </a:cubicBezTo>
                  <a:cubicBezTo>
                    <a:pt x="139382" y="16827"/>
                    <a:pt x="133667" y="21273"/>
                    <a:pt x="128588" y="26988"/>
                  </a:cubicBezTo>
                  <a:cubicBezTo>
                    <a:pt x="122238" y="33973"/>
                    <a:pt x="117157" y="42227"/>
                    <a:pt x="113982" y="52388"/>
                  </a:cubicBezTo>
                  <a:cubicBezTo>
                    <a:pt x="111442" y="50483"/>
                    <a:pt x="108902" y="49213"/>
                    <a:pt x="106363" y="47308"/>
                  </a:cubicBezTo>
                  <a:cubicBezTo>
                    <a:pt x="102552" y="45402"/>
                    <a:pt x="99377" y="43498"/>
                    <a:pt x="96202" y="42227"/>
                  </a:cubicBezTo>
                  <a:cubicBezTo>
                    <a:pt x="94932" y="41592"/>
                    <a:pt x="93663" y="41592"/>
                    <a:pt x="92392" y="40958"/>
                  </a:cubicBezTo>
                  <a:cubicBezTo>
                    <a:pt x="90488" y="40323"/>
                    <a:pt x="87947" y="39052"/>
                    <a:pt x="86042" y="38417"/>
                  </a:cubicBezTo>
                  <a:cubicBezTo>
                    <a:pt x="84772" y="37783"/>
                    <a:pt x="83502" y="37783"/>
                    <a:pt x="82232" y="37148"/>
                  </a:cubicBezTo>
                  <a:cubicBezTo>
                    <a:pt x="80327" y="36513"/>
                    <a:pt x="78422" y="35877"/>
                    <a:pt x="76517" y="35242"/>
                  </a:cubicBezTo>
                  <a:cubicBezTo>
                    <a:pt x="75247" y="35242"/>
                    <a:pt x="73977" y="34608"/>
                    <a:pt x="72707" y="34608"/>
                  </a:cubicBezTo>
                  <a:cubicBezTo>
                    <a:pt x="70802" y="34608"/>
                    <a:pt x="68897" y="33973"/>
                    <a:pt x="66992" y="33973"/>
                  </a:cubicBezTo>
                  <a:cubicBezTo>
                    <a:pt x="65722" y="33973"/>
                    <a:pt x="64452" y="33973"/>
                    <a:pt x="63182" y="33973"/>
                  </a:cubicBezTo>
                  <a:cubicBezTo>
                    <a:pt x="61277" y="33973"/>
                    <a:pt x="60007" y="33973"/>
                    <a:pt x="58102" y="33973"/>
                  </a:cubicBezTo>
                  <a:cubicBezTo>
                    <a:pt x="56832" y="33973"/>
                    <a:pt x="55563" y="33973"/>
                    <a:pt x="54292" y="34608"/>
                  </a:cubicBezTo>
                  <a:cubicBezTo>
                    <a:pt x="53022" y="34608"/>
                    <a:pt x="51117" y="34608"/>
                    <a:pt x="49847" y="35242"/>
                  </a:cubicBezTo>
                  <a:cubicBezTo>
                    <a:pt x="48577" y="35242"/>
                    <a:pt x="47307" y="35877"/>
                    <a:pt x="46038" y="36513"/>
                  </a:cubicBezTo>
                  <a:cubicBezTo>
                    <a:pt x="44767" y="37148"/>
                    <a:pt x="43497" y="37148"/>
                    <a:pt x="41592" y="37783"/>
                  </a:cubicBezTo>
                  <a:cubicBezTo>
                    <a:pt x="40322" y="38417"/>
                    <a:pt x="39052" y="39052"/>
                    <a:pt x="38417" y="39052"/>
                  </a:cubicBezTo>
                  <a:cubicBezTo>
                    <a:pt x="37147" y="39688"/>
                    <a:pt x="35877" y="40323"/>
                    <a:pt x="34607" y="40958"/>
                  </a:cubicBezTo>
                  <a:cubicBezTo>
                    <a:pt x="16192" y="51752"/>
                    <a:pt x="4763" y="73977"/>
                    <a:pt x="4763" y="105727"/>
                  </a:cubicBezTo>
                  <a:cubicBezTo>
                    <a:pt x="4763" y="169863"/>
                    <a:pt x="49847" y="247967"/>
                    <a:pt x="105727" y="280352"/>
                  </a:cubicBezTo>
                  <a:lnTo>
                    <a:pt x="434657" y="470217"/>
                  </a:lnTo>
                  <a:cubicBezTo>
                    <a:pt x="458152" y="484188"/>
                    <a:pt x="479742" y="484188"/>
                    <a:pt x="494347" y="474027"/>
                  </a:cubicBezTo>
                  <a:cubicBezTo>
                    <a:pt x="494982" y="473392"/>
                    <a:pt x="496252" y="472758"/>
                    <a:pt x="496888" y="472123"/>
                  </a:cubicBezTo>
                  <a:cubicBezTo>
                    <a:pt x="496888" y="470852"/>
                    <a:pt x="497522" y="469583"/>
                    <a:pt x="498792" y="46894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8" name="任意多边形: 形状 9907"/>
            <p:cNvSpPr/>
            <p:nvPr/>
          </p:nvSpPr>
          <p:spPr>
            <a:xfrm>
              <a:off x="7546975" y="4703445"/>
              <a:ext cx="1714500" cy="1174750"/>
            </a:xfrm>
            <a:custGeom>
              <a:avLst/>
              <a:gdLst>
                <a:gd name="connsiteX0" fmla="*/ 3175 w 1714500"/>
                <a:gd name="connsiteY0" fmla="*/ 3175 h 1174750"/>
                <a:gd name="connsiteX1" fmla="*/ 3175 w 1714500"/>
                <a:gd name="connsiteY1" fmla="*/ 121920 h 1174750"/>
                <a:gd name="connsiteX2" fmla="*/ 1715770 w 1714500"/>
                <a:gd name="connsiteY2" fmla="*/ 1173480 h 1174750"/>
                <a:gd name="connsiteX3" fmla="*/ 1715770 w 1714500"/>
                <a:gd name="connsiteY3" fmla="*/ 1071880 h 1174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0" h="1174750">
                  <a:moveTo>
                    <a:pt x="3175" y="3175"/>
                  </a:moveTo>
                  <a:lnTo>
                    <a:pt x="3175" y="121920"/>
                  </a:lnTo>
                  <a:lnTo>
                    <a:pt x="1715770" y="1173480"/>
                  </a:lnTo>
                  <a:lnTo>
                    <a:pt x="1715770" y="107188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9" name="任意多边形: 形状 9908"/>
            <p:cNvSpPr/>
            <p:nvPr/>
          </p:nvSpPr>
          <p:spPr>
            <a:xfrm>
              <a:off x="9259570" y="5055870"/>
              <a:ext cx="1168400" cy="819150"/>
            </a:xfrm>
            <a:custGeom>
              <a:avLst/>
              <a:gdLst>
                <a:gd name="connsiteX0" fmla="*/ 3175 w 1168400"/>
                <a:gd name="connsiteY0" fmla="*/ 821055 h 819150"/>
                <a:gd name="connsiteX1" fmla="*/ 1162686 w 1168400"/>
                <a:gd name="connsiteY1" fmla="*/ 104775 h 819150"/>
                <a:gd name="connsiteX2" fmla="*/ 1169036 w 1168400"/>
                <a:gd name="connsiteY2" fmla="*/ 3175 h 819150"/>
                <a:gd name="connsiteX3" fmla="*/ 3175 w 1168400"/>
                <a:gd name="connsiteY3" fmla="*/ 719455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8400" h="819150">
                  <a:moveTo>
                    <a:pt x="3175" y="821055"/>
                  </a:moveTo>
                  <a:lnTo>
                    <a:pt x="1162686" y="104775"/>
                  </a:lnTo>
                  <a:lnTo>
                    <a:pt x="1169036" y="3175"/>
                  </a:lnTo>
                  <a:lnTo>
                    <a:pt x="3175" y="719455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0" name="任意多边形: 形状 9909"/>
            <p:cNvSpPr/>
            <p:nvPr/>
          </p:nvSpPr>
          <p:spPr>
            <a:xfrm>
              <a:off x="6662896" y="4667409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3 w 323850"/>
                <a:gd name="connsiteY1" fmla="*/ 161766 h 190500"/>
                <a:gd name="connsiteX2" fmla="*/ 50323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8" y="197961"/>
                    <a:pt x="113188" y="197961"/>
                    <a:pt x="50323" y="161766"/>
                  </a:cubicBezTo>
                  <a:cubicBezTo>
                    <a:pt x="-12541" y="125571"/>
                    <a:pt x="-12541" y="66516"/>
                    <a:pt x="50323" y="30321"/>
                  </a:cubicBezTo>
                  <a:cubicBezTo>
                    <a:pt x="113188" y="-5874"/>
                    <a:pt x="214788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rgbClr val="3D4CC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1" name="任意多边形: 形状 9910"/>
            <p:cNvSpPr/>
            <p:nvPr/>
          </p:nvSpPr>
          <p:spPr>
            <a:xfrm>
              <a:off x="6720840" y="4116705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2" name="任意多边形: 形状 9911"/>
            <p:cNvSpPr/>
            <p:nvPr/>
          </p:nvSpPr>
          <p:spPr>
            <a:xfrm>
              <a:off x="6724650" y="4154170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3" name="任意多边形: 形状 9912"/>
            <p:cNvSpPr/>
            <p:nvPr/>
          </p:nvSpPr>
          <p:spPr>
            <a:xfrm>
              <a:off x="7008336" y="5012214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9" y="197961"/>
                    <a:pt x="113189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9" y="-5874"/>
                    <a:pt x="214789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rgbClr val="3D4CC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4" name="任意多边形: 形状 9913"/>
            <p:cNvSpPr/>
            <p:nvPr/>
          </p:nvSpPr>
          <p:spPr>
            <a:xfrm>
              <a:off x="7066280" y="4462145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175"/>
                    <a:pt x="213360" y="620395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5" name="任意多边形: 形状 9914"/>
            <p:cNvSpPr/>
            <p:nvPr/>
          </p:nvSpPr>
          <p:spPr>
            <a:xfrm>
              <a:off x="7070090" y="4499610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0710"/>
                    <a:pt x="209550" y="582930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6" name="任意多边形: 形状 9915"/>
            <p:cNvSpPr/>
            <p:nvPr/>
          </p:nvSpPr>
          <p:spPr>
            <a:xfrm>
              <a:off x="7389971" y="5394484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3 w 323850"/>
                <a:gd name="connsiteY1" fmla="*/ 161766 h 190500"/>
                <a:gd name="connsiteX2" fmla="*/ 50323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8" y="197961"/>
                    <a:pt x="113188" y="197961"/>
                    <a:pt x="50323" y="161766"/>
                  </a:cubicBezTo>
                  <a:cubicBezTo>
                    <a:pt x="-12541" y="125571"/>
                    <a:pt x="-12541" y="66516"/>
                    <a:pt x="50323" y="30321"/>
                  </a:cubicBezTo>
                  <a:cubicBezTo>
                    <a:pt x="113188" y="-5874"/>
                    <a:pt x="214788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rgbClr val="3D4CC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7" name="任意多边形: 形状 9916"/>
            <p:cNvSpPr/>
            <p:nvPr/>
          </p:nvSpPr>
          <p:spPr>
            <a:xfrm>
              <a:off x="7447915" y="4843780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8" name="任意多边形: 形状 9917"/>
            <p:cNvSpPr/>
            <p:nvPr/>
          </p:nvSpPr>
          <p:spPr>
            <a:xfrm>
              <a:off x="7451725" y="4881245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9" name="任意多边形: 形状 9918"/>
            <p:cNvSpPr/>
            <p:nvPr/>
          </p:nvSpPr>
          <p:spPr>
            <a:xfrm>
              <a:off x="7746206" y="5750084"/>
              <a:ext cx="323850" cy="190500"/>
            </a:xfrm>
            <a:custGeom>
              <a:avLst/>
              <a:gdLst>
                <a:gd name="connsiteX0" fmla="*/ 277653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3 w 323850"/>
                <a:gd name="connsiteY3" fmla="*/ 30321 h 190500"/>
                <a:gd name="connsiteX4" fmla="*/ 277653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3" y="161766"/>
                  </a:moveTo>
                  <a:cubicBezTo>
                    <a:pt x="214788" y="197961"/>
                    <a:pt x="113188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8" y="-5874"/>
                    <a:pt x="214788" y="-5874"/>
                    <a:pt x="277653" y="30321"/>
                  </a:cubicBezTo>
                  <a:cubicBezTo>
                    <a:pt x="340519" y="66516"/>
                    <a:pt x="340519" y="125571"/>
                    <a:pt x="277653" y="161766"/>
                  </a:cubicBezTo>
                  <a:close/>
                </a:path>
              </a:pathLst>
            </a:custGeom>
            <a:solidFill>
              <a:srgbClr val="3D4CC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0" name="任意多边形: 形状 9919"/>
            <p:cNvSpPr/>
            <p:nvPr/>
          </p:nvSpPr>
          <p:spPr>
            <a:xfrm>
              <a:off x="7804150" y="5200015"/>
              <a:ext cx="209550" cy="666750"/>
            </a:xfrm>
            <a:custGeom>
              <a:avLst/>
              <a:gdLst>
                <a:gd name="connsiteX0" fmla="*/ 210819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19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19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4" y="675640"/>
                    <a:pt x="140335" y="675640"/>
                    <a:pt x="180975" y="652145"/>
                  </a:cubicBezTo>
                  <a:cubicBezTo>
                    <a:pt x="203835" y="638175"/>
                    <a:pt x="213360" y="620395"/>
                    <a:pt x="210819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1" name="任意多边形: 形状 9920"/>
            <p:cNvSpPr/>
            <p:nvPr/>
          </p:nvSpPr>
          <p:spPr>
            <a:xfrm>
              <a:off x="7807960" y="5237480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0710"/>
                    <a:pt x="209550" y="582930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2" name="任意多边形: 形状 9921"/>
            <p:cNvSpPr/>
            <p:nvPr/>
          </p:nvSpPr>
          <p:spPr>
            <a:xfrm>
              <a:off x="8143081" y="6147594"/>
              <a:ext cx="323850" cy="190500"/>
            </a:xfrm>
            <a:custGeom>
              <a:avLst/>
              <a:gdLst>
                <a:gd name="connsiteX0" fmla="*/ 277653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3 w 323850"/>
                <a:gd name="connsiteY3" fmla="*/ 30321 h 190500"/>
                <a:gd name="connsiteX4" fmla="*/ 277653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3" y="161766"/>
                  </a:moveTo>
                  <a:cubicBezTo>
                    <a:pt x="214788" y="197961"/>
                    <a:pt x="113188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8" y="-5874"/>
                    <a:pt x="214788" y="-5874"/>
                    <a:pt x="277653" y="30321"/>
                  </a:cubicBezTo>
                  <a:cubicBezTo>
                    <a:pt x="340519" y="66516"/>
                    <a:pt x="340519" y="125571"/>
                    <a:pt x="277653" y="161766"/>
                  </a:cubicBezTo>
                  <a:close/>
                </a:path>
              </a:pathLst>
            </a:custGeom>
            <a:solidFill>
              <a:srgbClr val="3D4CC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3" name="任意多边形: 形状 9922"/>
            <p:cNvSpPr/>
            <p:nvPr/>
          </p:nvSpPr>
          <p:spPr>
            <a:xfrm>
              <a:off x="8201025" y="5596890"/>
              <a:ext cx="209550" cy="666750"/>
            </a:xfrm>
            <a:custGeom>
              <a:avLst/>
              <a:gdLst>
                <a:gd name="connsiteX0" fmla="*/ 210819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19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19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4" y="675640"/>
                    <a:pt x="140335" y="675640"/>
                    <a:pt x="180975" y="652145"/>
                  </a:cubicBezTo>
                  <a:cubicBezTo>
                    <a:pt x="203835" y="638810"/>
                    <a:pt x="213994" y="621030"/>
                    <a:pt x="210819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4" name="任意多边形: 形状 9923"/>
            <p:cNvSpPr/>
            <p:nvPr/>
          </p:nvSpPr>
          <p:spPr>
            <a:xfrm>
              <a:off x="8204835" y="5634355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5" name="任意多边形: 形状 9924"/>
            <p:cNvSpPr/>
            <p:nvPr/>
          </p:nvSpPr>
          <p:spPr>
            <a:xfrm>
              <a:off x="8641080" y="6441123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9" y="197961"/>
                    <a:pt x="113189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9" y="-5874"/>
                    <a:pt x="214789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rgbClr val="3D4CC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6" name="任意多边形: 形状 9925"/>
            <p:cNvSpPr/>
            <p:nvPr/>
          </p:nvSpPr>
          <p:spPr>
            <a:xfrm>
              <a:off x="8698230" y="5895340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7" name="任意多边形: 形状 9926"/>
            <p:cNvSpPr/>
            <p:nvPr/>
          </p:nvSpPr>
          <p:spPr>
            <a:xfrm>
              <a:off x="8702040" y="5932805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9929" name="任意多边形: 形状 9928"/>
          <p:cNvSpPr/>
          <p:nvPr/>
        </p:nvSpPr>
        <p:spPr>
          <a:xfrm>
            <a:off x="963657" y="4049395"/>
            <a:ext cx="1003300" cy="82550"/>
          </a:xfrm>
          <a:custGeom>
            <a:avLst/>
            <a:gdLst>
              <a:gd name="connsiteX0" fmla="*/ 4762 w 1003300"/>
              <a:gd name="connsiteY0" fmla="*/ 4763 h 82550"/>
              <a:gd name="connsiteX1" fmla="*/ 999172 w 1003300"/>
              <a:gd name="connsiteY1" fmla="*/ 4763 h 82550"/>
              <a:gd name="connsiteX2" fmla="*/ 999172 w 1003300"/>
              <a:gd name="connsiteY2" fmla="*/ 79693 h 82550"/>
              <a:gd name="connsiteX3" fmla="*/ 4762 w 1003300"/>
              <a:gd name="connsiteY3" fmla="*/ 79693 h 82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3300" h="82550">
                <a:moveTo>
                  <a:pt x="4762" y="4763"/>
                </a:moveTo>
                <a:lnTo>
                  <a:pt x="999172" y="4763"/>
                </a:lnTo>
                <a:lnTo>
                  <a:pt x="999172" y="79693"/>
                </a:lnTo>
                <a:lnTo>
                  <a:pt x="4762" y="79693"/>
                </a:ln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835422" y="2979420"/>
            <a:ext cx="5643769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835422" y="1784015"/>
            <a:ext cx="5643769" cy="1195405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5422" y="4742728"/>
            <a:ext cx="564376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5422" y="5038999"/>
            <a:ext cx="564376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任意多边形: 形状 164"/>
          <p:cNvSpPr/>
          <p:nvPr userDrawn="1"/>
        </p:nvSpPr>
        <p:spPr>
          <a:xfrm>
            <a:off x="-3176" y="-3175"/>
            <a:ext cx="12195176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6" name="任意多边形: 形状 165"/>
          <p:cNvSpPr/>
          <p:nvPr userDrawn="1"/>
        </p:nvSpPr>
        <p:spPr>
          <a:xfrm>
            <a:off x="489474" y="689956"/>
            <a:ext cx="11213052" cy="5447319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bg1"/>
          </a:solidFill>
          <a:ln w="6350" cap="flat">
            <a:noFill/>
            <a:prstDash val="solid"/>
            <a:miter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7194" y="3331371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8310" y="422672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grpSp>
        <p:nvGrpSpPr>
          <p:cNvPr id="374" name="组合 373"/>
          <p:cNvGrpSpPr/>
          <p:nvPr userDrawn="1"/>
        </p:nvGrpSpPr>
        <p:grpSpPr>
          <a:xfrm>
            <a:off x="344467" y="378891"/>
            <a:ext cx="5506402" cy="5576112"/>
            <a:chOff x="344467" y="378891"/>
            <a:chExt cx="5506402" cy="5576112"/>
          </a:xfrm>
        </p:grpSpPr>
        <p:grpSp>
          <p:nvGrpSpPr>
            <p:cNvPr id="3" name="组合 2"/>
            <p:cNvGrpSpPr/>
            <p:nvPr userDrawn="1"/>
          </p:nvGrpSpPr>
          <p:grpSpPr>
            <a:xfrm>
              <a:off x="344467" y="378891"/>
              <a:ext cx="5506402" cy="5211649"/>
              <a:chOff x="344467" y="378891"/>
              <a:chExt cx="5506402" cy="5211649"/>
            </a:xfrm>
          </p:grpSpPr>
          <p:sp>
            <p:nvSpPr>
              <p:cNvPr id="192" name="任意多边形: 形状 191"/>
              <p:cNvSpPr/>
              <p:nvPr/>
            </p:nvSpPr>
            <p:spPr>
              <a:xfrm flipH="1">
                <a:off x="344467" y="3044190"/>
                <a:ext cx="4641850" cy="2546350"/>
              </a:xfrm>
              <a:custGeom>
                <a:avLst/>
                <a:gdLst>
                  <a:gd name="connsiteX0" fmla="*/ 3175 w 4641850"/>
                  <a:gd name="connsiteY0" fmla="*/ 1431925 h 2546350"/>
                  <a:gd name="connsiteX1" fmla="*/ 1784350 w 4641850"/>
                  <a:gd name="connsiteY1" fmla="*/ 2546350 h 2546350"/>
                  <a:gd name="connsiteX2" fmla="*/ 4639946 w 4641850"/>
                  <a:gd name="connsiteY2" fmla="*/ 868680 h 2546350"/>
                  <a:gd name="connsiteX3" fmla="*/ 3265805 w 4641850"/>
                  <a:gd name="connsiteY3" fmla="*/ 3175 h 254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41850" h="2546350">
                    <a:moveTo>
                      <a:pt x="3175" y="1431925"/>
                    </a:moveTo>
                    <a:lnTo>
                      <a:pt x="1784350" y="2546350"/>
                    </a:lnTo>
                    <a:lnTo>
                      <a:pt x="4639946" y="868680"/>
                    </a:lnTo>
                    <a:lnTo>
                      <a:pt x="3265805" y="3175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3" name="任意多边形: 形状 192"/>
              <p:cNvSpPr/>
              <p:nvPr/>
            </p:nvSpPr>
            <p:spPr>
              <a:xfrm flipH="1">
                <a:off x="2034837" y="3688080"/>
                <a:ext cx="2882900" cy="1695450"/>
              </a:xfrm>
              <a:custGeom>
                <a:avLst/>
                <a:gdLst>
                  <a:gd name="connsiteX0" fmla="*/ 2881630 w 2882900"/>
                  <a:gd name="connsiteY0" fmla="*/ 979805 h 1695450"/>
                  <a:gd name="connsiteX1" fmla="*/ 1715770 w 2882900"/>
                  <a:gd name="connsiteY1" fmla="*/ 1696085 h 1695450"/>
                  <a:gd name="connsiteX2" fmla="*/ 3175 w 2882900"/>
                  <a:gd name="connsiteY2" fmla="*/ 627380 h 1695450"/>
                  <a:gd name="connsiteX3" fmla="*/ 1329690 w 2882900"/>
                  <a:gd name="connsiteY3" fmla="*/ 3175 h 1695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2900" h="1695450">
                    <a:moveTo>
                      <a:pt x="2881630" y="979805"/>
                    </a:moveTo>
                    <a:lnTo>
                      <a:pt x="1715770" y="1696085"/>
                    </a:lnTo>
                    <a:lnTo>
                      <a:pt x="3175" y="627380"/>
                    </a:lnTo>
                    <a:lnTo>
                      <a:pt x="1329690" y="3175"/>
                    </a:lnTo>
                    <a:close/>
                  </a:path>
                </a:pathLst>
              </a:custGeom>
              <a:solidFill>
                <a:srgbClr val="E4F0FE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4" name="任意多边形: 形状 193"/>
              <p:cNvSpPr/>
              <p:nvPr/>
            </p:nvSpPr>
            <p:spPr>
              <a:xfrm flipH="1">
                <a:off x="3554392" y="1615440"/>
                <a:ext cx="971550" cy="768350"/>
              </a:xfrm>
              <a:custGeom>
                <a:avLst/>
                <a:gdLst>
                  <a:gd name="connsiteX0" fmla="*/ 3175 w 971550"/>
                  <a:gd name="connsiteY0" fmla="*/ 768985 h 768350"/>
                  <a:gd name="connsiteX1" fmla="*/ 3175 w 971550"/>
                  <a:gd name="connsiteY1" fmla="*/ 563880 h 768350"/>
                  <a:gd name="connsiteX2" fmla="*/ 972186 w 971550"/>
                  <a:gd name="connsiteY2" fmla="*/ 3175 h 768350"/>
                  <a:gd name="connsiteX3" fmla="*/ 972186 w 971550"/>
                  <a:gd name="connsiteY3" fmla="*/ 206375 h 768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1550" h="768350">
                    <a:moveTo>
                      <a:pt x="3175" y="768985"/>
                    </a:moveTo>
                    <a:lnTo>
                      <a:pt x="3175" y="563880"/>
                    </a:lnTo>
                    <a:lnTo>
                      <a:pt x="972186" y="3175"/>
                    </a:lnTo>
                    <a:lnTo>
                      <a:pt x="972186" y="20637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5" name="任意多边形: 形状 194"/>
              <p:cNvSpPr/>
              <p:nvPr/>
            </p:nvSpPr>
            <p:spPr>
              <a:xfrm flipH="1">
                <a:off x="4740572" y="3333750"/>
                <a:ext cx="19050" cy="88900"/>
              </a:xfrm>
              <a:custGeom>
                <a:avLst/>
                <a:gdLst>
                  <a:gd name="connsiteX0" fmla="*/ 3175 w 19050"/>
                  <a:gd name="connsiteY0" fmla="*/ 90170 h 88900"/>
                  <a:gd name="connsiteX1" fmla="*/ 3175 w 19050"/>
                  <a:gd name="connsiteY1" fmla="*/ 90170 h 88900"/>
                  <a:gd name="connsiteX2" fmla="*/ 16510 w 19050"/>
                  <a:gd name="connsiteY2" fmla="*/ 3175 h 88900"/>
                  <a:gd name="connsiteX3" fmla="*/ 16510 w 19050"/>
                  <a:gd name="connsiteY3" fmla="*/ 3175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88900">
                    <a:moveTo>
                      <a:pt x="3175" y="90170"/>
                    </a:moveTo>
                    <a:lnTo>
                      <a:pt x="3175" y="90170"/>
                    </a:lnTo>
                    <a:lnTo>
                      <a:pt x="16510" y="3175"/>
                    </a:lnTo>
                    <a:lnTo>
                      <a:pt x="16510" y="3175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5A69E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6" name="任意多边形: 形状 195"/>
              <p:cNvSpPr/>
              <p:nvPr/>
            </p:nvSpPr>
            <p:spPr>
              <a:xfrm flipH="1">
                <a:off x="4725649" y="3408638"/>
                <a:ext cx="25400" cy="38100"/>
              </a:xfrm>
              <a:custGeom>
                <a:avLst/>
                <a:gdLst>
                  <a:gd name="connsiteX0" fmla="*/ 15557 w 25400"/>
                  <a:gd name="connsiteY0" fmla="*/ 6393 h 38100"/>
                  <a:gd name="connsiteX1" fmla="*/ 4763 w 25400"/>
                  <a:gd name="connsiteY1" fmla="*/ 25443 h 38100"/>
                  <a:gd name="connsiteX2" fmla="*/ 15557 w 25400"/>
                  <a:gd name="connsiteY2" fmla="*/ 31793 h 38100"/>
                  <a:gd name="connsiteX3" fmla="*/ 26353 w 25400"/>
                  <a:gd name="connsiteY3" fmla="*/ 12743 h 38100"/>
                  <a:gd name="connsiteX4" fmla="*/ 15557 w 25400"/>
                  <a:gd name="connsiteY4" fmla="*/ 63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38100">
                    <a:moveTo>
                      <a:pt x="15557" y="6393"/>
                    </a:moveTo>
                    <a:cubicBezTo>
                      <a:pt x="9207" y="10202"/>
                      <a:pt x="4763" y="18457"/>
                      <a:pt x="4763" y="25443"/>
                    </a:cubicBezTo>
                    <a:cubicBezTo>
                      <a:pt x="4763" y="32427"/>
                      <a:pt x="9843" y="35602"/>
                      <a:pt x="15557" y="31793"/>
                    </a:cubicBezTo>
                    <a:cubicBezTo>
                      <a:pt x="21907" y="27982"/>
                      <a:pt x="26353" y="19727"/>
                      <a:pt x="26353" y="12743"/>
                    </a:cubicBezTo>
                    <a:cubicBezTo>
                      <a:pt x="26353" y="5757"/>
                      <a:pt x="21272" y="2582"/>
                      <a:pt x="15557" y="6393"/>
                    </a:cubicBezTo>
                    <a:close/>
                  </a:path>
                </a:pathLst>
              </a:custGeom>
              <a:solidFill>
                <a:srgbClr val="1330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7" name="任意多边形: 形状 196"/>
              <p:cNvSpPr/>
              <p:nvPr/>
            </p:nvSpPr>
            <p:spPr>
              <a:xfrm flipH="1">
                <a:off x="4725649" y="3408638"/>
                <a:ext cx="25400" cy="38100"/>
              </a:xfrm>
              <a:custGeom>
                <a:avLst/>
                <a:gdLst>
                  <a:gd name="connsiteX0" fmla="*/ 15557 w 25400"/>
                  <a:gd name="connsiteY0" fmla="*/ 6393 h 38100"/>
                  <a:gd name="connsiteX1" fmla="*/ 4763 w 25400"/>
                  <a:gd name="connsiteY1" fmla="*/ 25443 h 38100"/>
                  <a:gd name="connsiteX2" fmla="*/ 15557 w 25400"/>
                  <a:gd name="connsiteY2" fmla="*/ 31793 h 38100"/>
                  <a:gd name="connsiteX3" fmla="*/ 26353 w 25400"/>
                  <a:gd name="connsiteY3" fmla="*/ 12743 h 38100"/>
                  <a:gd name="connsiteX4" fmla="*/ 15557 w 25400"/>
                  <a:gd name="connsiteY4" fmla="*/ 63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38100">
                    <a:moveTo>
                      <a:pt x="15557" y="6393"/>
                    </a:moveTo>
                    <a:cubicBezTo>
                      <a:pt x="9207" y="10202"/>
                      <a:pt x="4763" y="18457"/>
                      <a:pt x="4763" y="25443"/>
                    </a:cubicBezTo>
                    <a:cubicBezTo>
                      <a:pt x="4763" y="32427"/>
                      <a:pt x="9843" y="35602"/>
                      <a:pt x="15557" y="31793"/>
                    </a:cubicBezTo>
                    <a:cubicBezTo>
                      <a:pt x="21907" y="27982"/>
                      <a:pt x="26353" y="19727"/>
                      <a:pt x="26353" y="12743"/>
                    </a:cubicBezTo>
                    <a:cubicBezTo>
                      <a:pt x="26353" y="5757"/>
                      <a:pt x="21272" y="2582"/>
                      <a:pt x="15557" y="6393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14304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8" name="任意多边形: 形状 197"/>
              <p:cNvSpPr/>
              <p:nvPr/>
            </p:nvSpPr>
            <p:spPr>
              <a:xfrm flipH="1">
                <a:off x="3287692" y="2381250"/>
                <a:ext cx="1238250" cy="1327150"/>
              </a:xfrm>
              <a:custGeom>
                <a:avLst/>
                <a:gdLst>
                  <a:gd name="connsiteX0" fmla="*/ 3175 w 1238250"/>
                  <a:gd name="connsiteY0" fmla="*/ 3175 h 1327150"/>
                  <a:gd name="connsiteX1" fmla="*/ 3175 w 1238250"/>
                  <a:gd name="connsiteY1" fmla="*/ 614680 h 1327150"/>
                  <a:gd name="connsiteX2" fmla="*/ 1236980 w 1238250"/>
                  <a:gd name="connsiteY2" fmla="*/ 1328420 h 1327150"/>
                  <a:gd name="connsiteX3" fmla="*/ 1236980 w 1238250"/>
                  <a:gd name="connsiteY3" fmla="*/ 716915 h 132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250" h="1327150">
                    <a:moveTo>
                      <a:pt x="3175" y="3175"/>
                    </a:moveTo>
                    <a:lnTo>
                      <a:pt x="3175" y="614680"/>
                    </a:lnTo>
                    <a:lnTo>
                      <a:pt x="1236980" y="1328420"/>
                    </a:lnTo>
                    <a:lnTo>
                      <a:pt x="1236980" y="71691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dirty="0"/>
              </a:p>
            </p:txBody>
          </p:sp>
          <p:sp>
            <p:nvSpPr>
              <p:cNvPr id="199" name="任意多边形: 形状 198"/>
              <p:cNvSpPr/>
              <p:nvPr/>
            </p:nvSpPr>
            <p:spPr>
              <a:xfrm flipH="1">
                <a:off x="2320587" y="2527300"/>
                <a:ext cx="971550" cy="1181100"/>
              </a:xfrm>
              <a:custGeom>
                <a:avLst/>
                <a:gdLst>
                  <a:gd name="connsiteX0" fmla="*/ 3175 w 971550"/>
                  <a:gd name="connsiteY0" fmla="*/ 566420 h 1181100"/>
                  <a:gd name="connsiteX1" fmla="*/ 3175 w 971550"/>
                  <a:gd name="connsiteY1" fmla="*/ 1183005 h 1181100"/>
                  <a:gd name="connsiteX2" fmla="*/ 970280 w 971550"/>
                  <a:gd name="connsiteY2" fmla="*/ 621030 h 1181100"/>
                  <a:gd name="connsiteX3" fmla="*/ 970280 w 971550"/>
                  <a:gd name="connsiteY3" fmla="*/ 3175 h 1181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1550" h="1181100">
                    <a:moveTo>
                      <a:pt x="3175" y="566420"/>
                    </a:moveTo>
                    <a:lnTo>
                      <a:pt x="3175" y="1183005"/>
                    </a:lnTo>
                    <a:lnTo>
                      <a:pt x="970280" y="621030"/>
                    </a:lnTo>
                    <a:lnTo>
                      <a:pt x="970280" y="317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0" name="任意多边形: 形状 199"/>
              <p:cNvSpPr/>
              <p:nvPr/>
            </p:nvSpPr>
            <p:spPr>
              <a:xfrm flipH="1">
                <a:off x="3287692" y="2989580"/>
                <a:ext cx="1238250" cy="2139950"/>
              </a:xfrm>
              <a:custGeom>
                <a:avLst/>
                <a:gdLst>
                  <a:gd name="connsiteX0" fmla="*/ 3175 w 1238250"/>
                  <a:gd name="connsiteY0" fmla="*/ 1427480 h 2139950"/>
                  <a:gd name="connsiteX1" fmla="*/ 3175 w 1238250"/>
                  <a:gd name="connsiteY1" fmla="*/ 3175 h 2139950"/>
                  <a:gd name="connsiteX2" fmla="*/ 1236980 w 1238250"/>
                  <a:gd name="connsiteY2" fmla="*/ 715645 h 2139950"/>
                  <a:gd name="connsiteX3" fmla="*/ 1236980 w 1238250"/>
                  <a:gd name="connsiteY3" fmla="*/ 2139950 h 213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250" h="2139950">
                    <a:moveTo>
                      <a:pt x="3175" y="1427480"/>
                    </a:moveTo>
                    <a:lnTo>
                      <a:pt x="3175" y="3175"/>
                    </a:lnTo>
                    <a:lnTo>
                      <a:pt x="1236980" y="715645"/>
                    </a:lnTo>
                    <a:lnTo>
                      <a:pt x="1236980" y="213995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1" name="任意多边形: 形状 200"/>
              <p:cNvSpPr/>
              <p:nvPr/>
            </p:nvSpPr>
            <p:spPr>
              <a:xfrm flipH="1">
                <a:off x="2320587" y="3138805"/>
                <a:ext cx="971550" cy="1993900"/>
              </a:xfrm>
              <a:custGeom>
                <a:avLst/>
                <a:gdLst>
                  <a:gd name="connsiteX0" fmla="*/ 3175 w 971550"/>
                  <a:gd name="connsiteY0" fmla="*/ 566420 h 1993900"/>
                  <a:gd name="connsiteX1" fmla="*/ 970280 w 971550"/>
                  <a:gd name="connsiteY1" fmla="*/ 3175 h 1993900"/>
                  <a:gd name="connsiteX2" fmla="*/ 970280 w 971550"/>
                  <a:gd name="connsiteY2" fmla="*/ 1430020 h 1993900"/>
                  <a:gd name="connsiteX3" fmla="*/ 3175 w 971550"/>
                  <a:gd name="connsiteY3" fmla="*/ 1990725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1550" h="1993900">
                    <a:moveTo>
                      <a:pt x="3175" y="566420"/>
                    </a:moveTo>
                    <a:lnTo>
                      <a:pt x="970280" y="3175"/>
                    </a:lnTo>
                    <a:lnTo>
                      <a:pt x="970280" y="1430020"/>
                    </a:lnTo>
                    <a:lnTo>
                      <a:pt x="3175" y="1990725"/>
                    </a:lnTo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2" name="任意多边形: 形状 201"/>
              <p:cNvSpPr/>
              <p:nvPr/>
            </p:nvSpPr>
            <p:spPr>
              <a:xfrm flipH="1">
                <a:off x="2322492" y="1818640"/>
                <a:ext cx="2203450" cy="1276350"/>
              </a:xfrm>
              <a:custGeom>
                <a:avLst/>
                <a:gdLst>
                  <a:gd name="connsiteX0" fmla="*/ 972186 w 2203450"/>
                  <a:gd name="connsiteY0" fmla="*/ 3175 h 1276350"/>
                  <a:gd name="connsiteX1" fmla="*/ 3175 w 2203450"/>
                  <a:gd name="connsiteY1" fmla="*/ 562610 h 1276350"/>
                  <a:gd name="connsiteX2" fmla="*/ 1236980 w 2203450"/>
                  <a:gd name="connsiteY2" fmla="*/ 1275080 h 1276350"/>
                  <a:gd name="connsiteX3" fmla="*/ 2204086 w 2203450"/>
                  <a:gd name="connsiteY3" fmla="*/ 711835 h 127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03450" h="1276350">
                    <a:moveTo>
                      <a:pt x="972186" y="3175"/>
                    </a:moveTo>
                    <a:lnTo>
                      <a:pt x="3175" y="562610"/>
                    </a:lnTo>
                    <a:lnTo>
                      <a:pt x="1236980" y="1275080"/>
                    </a:lnTo>
                    <a:lnTo>
                      <a:pt x="2204086" y="711835"/>
                    </a:ln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3" name="任意多边形: 形状 202"/>
              <p:cNvSpPr/>
              <p:nvPr/>
            </p:nvSpPr>
            <p:spPr>
              <a:xfrm flipH="1">
                <a:off x="3377227" y="3447415"/>
                <a:ext cx="1060450" cy="1428750"/>
              </a:xfrm>
              <a:custGeom>
                <a:avLst/>
                <a:gdLst>
                  <a:gd name="connsiteX0" fmla="*/ 3175 w 1060450"/>
                  <a:gd name="connsiteY0" fmla="*/ 817245 h 1428750"/>
                  <a:gd name="connsiteX1" fmla="*/ 3175 w 1060450"/>
                  <a:gd name="connsiteY1" fmla="*/ 3175 h 1428750"/>
                  <a:gd name="connsiteX2" fmla="*/ 1060450 w 1060450"/>
                  <a:gd name="connsiteY2" fmla="*/ 614045 h 1428750"/>
                  <a:gd name="connsiteX3" fmla="*/ 1060450 w 1060450"/>
                  <a:gd name="connsiteY3" fmla="*/ 1427480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0450" h="1428750">
                    <a:moveTo>
                      <a:pt x="3175" y="817245"/>
                    </a:moveTo>
                    <a:lnTo>
                      <a:pt x="3175" y="3175"/>
                    </a:lnTo>
                    <a:lnTo>
                      <a:pt x="1060450" y="614045"/>
                    </a:lnTo>
                    <a:lnTo>
                      <a:pt x="1060450" y="1427480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4" name="任意多边形: 形状 203"/>
              <p:cNvSpPr/>
              <p:nvPr/>
            </p:nvSpPr>
            <p:spPr>
              <a:xfrm flipH="1">
                <a:off x="2410757" y="3600450"/>
                <a:ext cx="793750" cy="1276350"/>
              </a:xfrm>
              <a:custGeom>
                <a:avLst/>
                <a:gdLst>
                  <a:gd name="connsiteX0" fmla="*/ 3175 w 793750"/>
                  <a:gd name="connsiteY0" fmla="*/ 461010 h 1276350"/>
                  <a:gd name="connsiteX1" fmla="*/ 796289 w 793750"/>
                  <a:gd name="connsiteY1" fmla="*/ 3175 h 1276350"/>
                  <a:gd name="connsiteX2" fmla="*/ 796289 w 793750"/>
                  <a:gd name="connsiteY2" fmla="*/ 816610 h 1276350"/>
                  <a:gd name="connsiteX3" fmla="*/ 3175 w 793750"/>
                  <a:gd name="connsiteY3" fmla="*/ 1274445 h 127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3750" h="1276350">
                    <a:moveTo>
                      <a:pt x="3175" y="461010"/>
                    </a:moveTo>
                    <a:lnTo>
                      <a:pt x="796289" y="3175"/>
                    </a:lnTo>
                    <a:lnTo>
                      <a:pt x="796289" y="816610"/>
                    </a:lnTo>
                    <a:lnTo>
                      <a:pt x="3175" y="1274445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5" name="任意多边形: 形状 204"/>
              <p:cNvSpPr/>
              <p:nvPr/>
            </p:nvSpPr>
            <p:spPr>
              <a:xfrm flipH="1">
                <a:off x="4172565" y="2525713"/>
                <a:ext cx="266700" cy="571500"/>
              </a:xfrm>
              <a:custGeom>
                <a:avLst/>
                <a:gdLst>
                  <a:gd name="connsiteX0" fmla="*/ 4763 w 266700"/>
                  <a:gd name="connsiteY0" fmla="*/ 4763 h 571500"/>
                  <a:gd name="connsiteX1" fmla="*/ 4763 w 266700"/>
                  <a:gd name="connsiteY1" fmla="*/ 416243 h 571500"/>
                  <a:gd name="connsiteX2" fmla="*/ 267018 w 266700"/>
                  <a:gd name="connsiteY2" fmla="*/ 568007 h 571500"/>
                  <a:gd name="connsiteX3" fmla="*/ 267018 w 266700"/>
                  <a:gd name="connsiteY3" fmla="*/ 160973 h 57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571500">
                    <a:moveTo>
                      <a:pt x="4763" y="4763"/>
                    </a:moveTo>
                    <a:lnTo>
                      <a:pt x="4763" y="416243"/>
                    </a:lnTo>
                    <a:lnTo>
                      <a:pt x="267018" y="568007"/>
                    </a:lnTo>
                    <a:lnTo>
                      <a:pt x="267018" y="160973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6" name="任意多边形: 形状 205"/>
              <p:cNvSpPr/>
              <p:nvPr/>
            </p:nvSpPr>
            <p:spPr>
              <a:xfrm flipH="1">
                <a:off x="3818234" y="2730817"/>
                <a:ext cx="266700" cy="571500"/>
              </a:xfrm>
              <a:custGeom>
                <a:avLst/>
                <a:gdLst>
                  <a:gd name="connsiteX0" fmla="*/ 4763 w 266700"/>
                  <a:gd name="connsiteY0" fmla="*/ 4763 h 571500"/>
                  <a:gd name="connsiteX1" fmla="*/ 4763 w 266700"/>
                  <a:gd name="connsiteY1" fmla="*/ 416243 h 571500"/>
                  <a:gd name="connsiteX2" fmla="*/ 267017 w 266700"/>
                  <a:gd name="connsiteY2" fmla="*/ 568007 h 571500"/>
                  <a:gd name="connsiteX3" fmla="*/ 267017 w 266700"/>
                  <a:gd name="connsiteY3" fmla="*/ 160973 h 57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571500">
                    <a:moveTo>
                      <a:pt x="4763" y="4763"/>
                    </a:moveTo>
                    <a:lnTo>
                      <a:pt x="4763" y="416243"/>
                    </a:lnTo>
                    <a:lnTo>
                      <a:pt x="267017" y="568007"/>
                    </a:lnTo>
                    <a:lnTo>
                      <a:pt x="267017" y="160973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7" name="任意多边形: 形状 206"/>
              <p:cNvSpPr/>
              <p:nvPr/>
            </p:nvSpPr>
            <p:spPr>
              <a:xfrm flipH="1">
                <a:off x="3470890" y="2934018"/>
                <a:ext cx="266700" cy="571500"/>
              </a:xfrm>
              <a:custGeom>
                <a:avLst/>
                <a:gdLst>
                  <a:gd name="connsiteX0" fmla="*/ 4763 w 266700"/>
                  <a:gd name="connsiteY0" fmla="*/ 4763 h 571500"/>
                  <a:gd name="connsiteX1" fmla="*/ 4763 w 266700"/>
                  <a:gd name="connsiteY1" fmla="*/ 416242 h 571500"/>
                  <a:gd name="connsiteX2" fmla="*/ 267018 w 266700"/>
                  <a:gd name="connsiteY2" fmla="*/ 568007 h 571500"/>
                  <a:gd name="connsiteX3" fmla="*/ 267018 w 266700"/>
                  <a:gd name="connsiteY3" fmla="*/ 160972 h 57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571500">
                    <a:moveTo>
                      <a:pt x="4763" y="4763"/>
                    </a:moveTo>
                    <a:lnTo>
                      <a:pt x="4763" y="416242"/>
                    </a:lnTo>
                    <a:lnTo>
                      <a:pt x="267018" y="568007"/>
                    </a:lnTo>
                    <a:lnTo>
                      <a:pt x="267018" y="160972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8" name="任意多边形: 形状 207"/>
              <p:cNvSpPr/>
              <p:nvPr/>
            </p:nvSpPr>
            <p:spPr>
              <a:xfrm flipH="1">
                <a:off x="2844144" y="2937193"/>
                <a:ext cx="361950" cy="615950"/>
              </a:xfrm>
              <a:custGeom>
                <a:avLst/>
                <a:gdLst>
                  <a:gd name="connsiteX0" fmla="*/ 4763 w 361950"/>
                  <a:gd name="connsiteY0" fmla="*/ 615632 h 615950"/>
                  <a:gd name="connsiteX1" fmla="*/ 4763 w 361950"/>
                  <a:gd name="connsiteY1" fmla="*/ 208597 h 615950"/>
                  <a:gd name="connsiteX2" fmla="*/ 357188 w 361950"/>
                  <a:gd name="connsiteY2" fmla="*/ 4763 h 615950"/>
                  <a:gd name="connsiteX3" fmla="*/ 357188 w 361950"/>
                  <a:gd name="connsiteY3" fmla="*/ 411797 h 61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950" h="615950">
                    <a:moveTo>
                      <a:pt x="4763" y="615632"/>
                    </a:moveTo>
                    <a:lnTo>
                      <a:pt x="4763" y="208597"/>
                    </a:lnTo>
                    <a:lnTo>
                      <a:pt x="357188" y="4763"/>
                    </a:lnTo>
                    <a:lnTo>
                      <a:pt x="357188" y="411797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9" name="任意多边形: 形状 208"/>
              <p:cNvSpPr/>
              <p:nvPr/>
            </p:nvSpPr>
            <p:spPr>
              <a:xfrm flipH="1">
                <a:off x="2403455" y="2683192"/>
                <a:ext cx="361950" cy="615950"/>
              </a:xfrm>
              <a:custGeom>
                <a:avLst/>
                <a:gdLst>
                  <a:gd name="connsiteX0" fmla="*/ 4763 w 361950"/>
                  <a:gd name="connsiteY0" fmla="*/ 614998 h 615950"/>
                  <a:gd name="connsiteX1" fmla="*/ 4763 w 361950"/>
                  <a:gd name="connsiteY1" fmla="*/ 207963 h 615950"/>
                  <a:gd name="connsiteX2" fmla="*/ 357188 w 361950"/>
                  <a:gd name="connsiteY2" fmla="*/ 4763 h 615950"/>
                  <a:gd name="connsiteX3" fmla="*/ 357188 w 361950"/>
                  <a:gd name="connsiteY3" fmla="*/ 411798 h 61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950" h="615950">
                    <a:moveTo>
                      <a:pt x="4763" y="614998"/>
                    </a:moveTo>
                    <a:lnTo>
                      <a:pt x="4763" y="207963"/>
                    </a:lnTo>
                    <a:lnTo>
                      <a:pt x="357188" y="4763"/>
                    </a:lnTo>
                    <a:lnTo>
                      <a:pt x="357188" y="411798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0" name="任意多边形: 形状 209"/>
              <p:cNvSpPr/>
              <p:nvPr/>
            </p:nvSpPr>
            <p:spPr>
              <a:xfrm flipH="1">
                <a:off x="2405994" y="4364037"/>
                <a:ext cx="800100" cy="514350"/>
              </a:xfrm>
              <a:custGeom>
                <a:avLst/>
                <a:gdLst>
                  <a:gd name="connsiteX0" fmla="*/ 4763 w 800100"/>
                  <a:gd name="connsiteY0" fmla="*/ 409258 h 514350"/>
                  <a:gd name="connsiteX1" fmla="*/ 709613 w 800100"/>
                  <a:gd name="connsiteY1" fmla="*/ 4763 h 514350"/>
                  <a:gd name="connsiteX2" fmla="*/ 797877 w 800100"/>
                  <a:gd name="connsiteY2" fmla="*/ 53023 h 514350"/>
                  <a:gd name="connsiteX3" fmla="*/ 4763 w 800100"/>
                  <a:gd name="connsiteY3" fmla="*/ 510858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0100" h="514350">
                    <a:moveTo>
                      <a:pt x="4763" y="409258"/>
                    </a:moveTo>
                    <a:lnTo>
                      <a:pt x="709613" y="4763"/>
                    </a:lnTo>
                    <a:lnTo>
                      <a:pt x="797877" y="53023"/>
                    </a:lnTo>
                    <a:lnTo>
                      <a:pt x="4763" y="510858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1" name="任意多边形: 形状 210"/>
              <p:cNvSpPr/>
              <p:nvPr/>
            </p:nvSpPr>
            <p:spPr>
              <a:xfrm flipH="1">
                <a:off x="2403455" y="3594418"/>
                <a:ext cx="101600" cy="819150"/>
              </a:xfrm>
              <a:custGeom>
                <a:avLst/>
                <a:gdLst>
                  <a:gd name="connsiteX0" fmla="*/ 8573 w 101600"/>
                  <a:gd name="connsiteY0" fmla="*/ 771842 h 819150"/>
                  <a:gd name="connsiteX1" fmla="*/ 4763 w 101600"/>
                  <a:gd name="connsiteY1" fmla="*/ 57467 h 819150"/>
                  <a:gd name="connsiteX2" fmla="*/ 96838 w 101600"/>
                  <a:gd name="connsiteY2" fmla="*/ 4763 h 819150"/>
                  <a:gd name="connsiteX3" fmla="*/ 96838 w 101600"/>
                  <a:gd name="connsiteY3" fmla="*/ 818197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600" h="819150">
                    <a:moveTo>
                      <a:pt x="8573" y="771842"/>
                    </a:moveTo>
                    <a:lnTo>
                      <a:pt x="4763" y="57467"/>
                    </a:lnTo>
                    <a:lnTo>
                      <a:pt x="96838" y="4763"/>
                    </a:lnTo>
                    <a:lnTo>
                      <a:pt x="96838" y="818197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2" name="任意多边形: 形状 211"/>
              <p:cNvSpPr/>
              <p:nvPr/>
            </p:nvSpPr>
            <p:spPr>
              <a:xfrm flipH="1">
                <a:off x="3376274" y="4209098"/>
                <a:ext cx="1060450" cy="666750"/>
              </a:xfrm>
              <a:custGeom>
                <a:avLst/>
                <a:gdLst>
                  <a:gd name="connsiteX0" fmla="*/ 4763 w 1060450"/>
                  <a:gd name="connsiteY0" fmla="*/ 56197 h 666750"/>
                  <a:gd name="connsiteX1" fmla="*/ 90488 w 1060450"/>
                  <a:gd name="connsiteY1" fmla="*/ 4763 h 666750"/>
                  <a:gd name="connsiteX2" fmla="*/ 1059497 w 1060450"/>
                  <a:gd name="connsiteY2" fmla="*/ 564197 h 666750"/>
                  <a:gd name="connsiteX3" fmla="*/ 1059497 w 1060450"/>
                  <a:gd name="connsiteY3" fmla="*/ 665797 h 666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0450" h="666750">
                    <a:moveTo>
                      <a:pt x="4763" y="56197"/>
                    </a:moveTo>
                    <a:lnTo>
                      <a:pt x="90488" y="4763"/>
                    </a:lnTo>
                    <a:lnTo>
                      <a:pt x="1059497" y="564197"/>
                    </a:lnTo>
                    <a:lnTo>
                      <a:pt x="1059497" y="665797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3" name="任意多边形: 形状 212"/>
              <p:cNvSpPr/>
              <p:nvPr/>
            </p:nvSpPr>
            <p:spPr>
              <a:xfrm flipH="1">
                <a:off x="4344015" y="3439478"/>
                <a:ext cx="95250" cy="825500"/>
              </a:xfrm>
              <a:custGeom>
                <a:avLst/>
                <a:gdLst>
                  <a:gd name="connsiteX0" fmla="*/ 4763 w 95250"/>
                  <a:gd name="connsiteY0" fmla="*/ 822008 h 825500"/>
                  <a:gd name="connsiteX1" fmla="*/ 4763 w 95250"/>
                  <a:gd name="connsiteY1" fmla="*/ 4763 h 825500"/>
                  <a:gd name="connsiteX2" fmla="*/ 90488 w 95250"/>
                  <a:gd name="connsiteY2" fmla="*/ 55563 h 825500"/>
                  <a:gd name="connsiteX3" fmla="*/ 90488 w 95250"/>
                  <a:gd name="connsiteY3" fmla="*/ 773113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825500">
                    <a:moveTo>
                      <a:pt x="4763" y="822008"/>
                    </a:moveTo>
                    <a:lnTo>
                      <a:pt x="4763" y="4763"/>
                    </a:lnTo>
                    <a:lnTo>
                      <a:pt x="90488" y="55563"/>
                    </a:lnTo>
                    <a:lnTo>
                      <a:pt x="90488" y="773113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4" name="任意多边形: 形状 213"/>
              <p:cNvSpPr/>
              <p:nvPr/>
            </p:nvSpPr>
            <p:spPr>
              <a:xfrm flipH="1">
                <a:off x="3642657" y="3651250"/>
                <a:ext cx="971550" cy="666750"/>
              </a:xfrm>
              <a:custGeom>
                <a:avLst/>
                <a:gdLst>
                  <a:gd name="connsiteX0" fmla="*/ 3175 w 971550"/>
                  <a:gd name="connsiteY0" fmla="*/ 3175 h 666750"/>
                  <a:gd name="connsiteX1" fmla="*/ 3175 w 971550"/>
                  <a:gd name="connsiteY1" fmla="*/ 104775 h 666750"/>
                  <a:gd name="connsiteX2" fmla="*/ 972820 w 971550"/>
                  <a:gd name="connsiteY2" fmla="*/ 664210 h 666750"/>
                  <a:gd name="connsiteX3" fmla="*/ 972820 w 971550"/>
                  <a:gd name="connsiteY3" fmla="*/ 562610 h 666750"/>
                  <a:gd name="connsiteX4" fmla="*/ 3175 w 971550"/>
                  <a:gd name="connsiteY4" fmla="*/ 3175 h 666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1550" h="666750">
                    <a:moveTo>
                      <a:pt x="3175" y="3175"/>
                    </a:moveTo>
                    <a:lnTo>
                      <a:pt x="3175" y="104775"/>
                    </a:lnTo>
                    <a:lnTo>
                      <a:pt x="972820" y="664210"/>
                    </a:lnTo>
                    <a:lnTo>
                      <a:pt x="972820" y="562610"/>
                    </a:lnTo>
                    <a:lnTo>
                      <a:pt x="3175" y="3175"/>
                    </a:ln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5" name="任意多边形: 形状 214"/>
              <p:cNvSpPr/>
              <p:nvPr/>
            </p:nvSpPr>
            <p:spPr>
              <a:xfrm flipH="1">
                <a:off x="3375957" y="3295650"/>
                <a:ext cx="1238250" cy="920750"/>
              </a:xfrm>
              <a:custGeom>
                <a:avLst/>
                <a:gdLst>
                  <a:gd name="connsiteX0" fmla="*/ 267970 w 1238250"/>
                  <a:gd name="connsiteY0" fmla="*/ 3175 h 920750"/>
                  <a:gd name="connsiteX1" fmla="*/ 3175 w 1238250"/>
                  <a:gd name="connsiteY1" fmla="*/ 358775 h 920750"/>
                  <a:gd name="connsiteX2" fmla="*/ 972820 w 1238250"/>
                  <a:gd name="connsiteY2" fmla="*/ 918210 h 920750"/>
                  <a:gd name="connsiteX3" fmla="*/ 1236980 w 1238250"/>
                  <a:gd name="connsiteY3" fmla="*/ 561975 h 920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250" h="920750">
                    <a:moveTo>
                      <a:pt x="267970" y="3175"/>
                    </a:moveTo>
                    <a:lnTo>
                      <a:pt x="3175" y="358775"/>
                    </a:lnTo>
                    <a:lnTo>
                      <a:pt x="972820" y="918210"/>
                    </a:lnTo>
                    <a:lnTo>
                      <a:pt x="1236980" y="561975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6" name="任意多边形: 形状 215"/>
              <p:cNvSpPr/>
              <p:nvPr/>
            </p:nvSpPr>
            <p:spPr>
              <a:xfrm flipH="1">
                <a:off x="3377862" y="3854450"/>
                <a:ext cx="266700" cy="463550"/>
              </a:xfrm>
              <a:custGeom>
                <a:avLst/>
                <a:gdLst>
                  <a:gd name="connsiteX0" fmla="*/ 3175 w 266700"/>
                  <a:gd name="connsiteY0" fmla="*/ 461010 h 463550"/>
                  <a:gd name="connsiteX1" fmla="*/ 3175 w 266700"/>
                  <a:gd name="connsiteY1" fmla="*/ 359410 h 463550"/>
                  <a:gd name="connsiteX2" fmla="*/ 267335 w 266700"/>
                  <a:gd name="connsiteY2" fmla="*/ 3175 h 463550"/>
                  <a:gd name="connsiteX3" fmla="*/ 267335 w 266700"/>
                  <a:gd name="connsiteY3" fmla="*/ 308610 h 463550"/>
                  <a:gd name="connsiteX4" fmla="*/ 3175 w 266700"/>
                  <a:gd name="connsiteY4" fmla="*/ 461010 h 463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700" h="463550">
                    <a:moveTo>
                      <a:pt x="3175" y="461010"/>
                    </a:moveTo>
                    <a:lnTo>
                      <a:pt x="3175" y="359410"/>
                    </a:lnTo>
                    <a:lnTo>
                      <a:pt x="267335" y="3175"/>
                    </a:lnTo>
                    <a:lnTo>
                      <a:pt x="267335" y="308610"/>
                    </a:lnTo>
                    <a:lnTo>
                      <a:pt x="3175" y="461010"/>
                    </a:ln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7" name="任意多边形: 形状 216"/>
              <p:cNvSpPr/>
              <p:nvPr/>
            </p:nvSpPr>
            <p:spPr>
              <a:xfrm flipH="1">
                <a:off x="2113894" y="3393123"/>
                <a:ext cx="1092200" cy="812800"/>
              </a:xfrm>
              <a:custGeom>
                <a:avLst/>
                <a:gdLst>
                  <a:gd name="connsiteX0" fmla="*/ 274002 w 1092200"/>
                  <a:gd name="connsiteY0" fmla="*/ 813117 h 812800"/>
                  <a:gd name="connsiteX1" fmla="*/ 1091882 w 1092200"/>
                  <a:gd name="connsiteY1" fmla="*/ 347027 h 812800"/>
                  <a:gd name="connsiteX2" fmla="*/ 801688 w 1092200"/>
                  <a:gd name="connsiteY2" fmla="*/ 4763 h 812800"/>
                  <a:gd name="connsiteX3" fmla="*/ 4763 w 1092200"/>
                  <a:gd name="connsiteY3" fmla="*/ 464502 h 812800"/>
                  <a:gd name="connsiteX4" fmla="*/ 274002 w 1092200"/>
                  <a:gd name="connsiteY4" fmla="*/ 813117 h 812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2200" h="812800">
                    <a:moveTo>
                      <a:pt x="274002" y="813117"/>
                    </a:moveTo>
                    <a:lnTo>
                      <a:pt x="1091882" y="347027"/>
                    </a:lnTo>
                    <a:lnTo>
                      <a:pt x="801688" y="4763"/>
                    </a:lnTo>
                    <a:lnTo>
                      <a:pt x="4763" y="464502"/>
                    </a:lnTo>
                    <a:lnTo>
                      <a:pt x="274002" y="813117"/>
                    </a:lnTo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8" name="任意多边形: 形状 217"/>
              <p:cNvSpPr/>
              <p:nvPr/>
            </p:nvSpPr>
            <p:spPr>
              <a:xfrm flipH="1">
                <a:off x="2112624" y="3735387"/>
                <a:ext cx="825500" cy="577850"/>
              </a:xfrm>
              <a:custGeom>
                <a:avLst/>
                <a:gdLst>
                  <a:gd name="connsiteX0" fmla="*/ 4763 w 825500"/>
                  <a:gd name="connsiteY0" fmla="*/ 468948 h 577850"/>
                  <a:gd name="connsiteX1" fmla="*/ 4763 w 825500"/>
                  <a:gd name="connsiteY1" fmla="*/ 578168 h 577850"/>
                  <a:gd name="connsiteX2" fmla="*/ 823913 w 825500"/>
                  <a:gd name="connsiteY2" fmla="*/ 110173 h 577850"/>
                  <a:gd name="connsiteX3" fmla="*/ 823913 w 825500"/>
                  <a:gd name="connsiteY3" fmla="*/ 4763 h 577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5500" h="577850">
                    <a:moveTo>
                      <a:pt x="4763" y="468948"/>
                    </a:moveTo>
                    <a:lnTo>
                      <a:pt x="4763" y="578168"/>
                    </a:lnTo>
                    <a:lnTo>
                      <a:pt x="823913" y="110173"/>
                    </a:lnTo>
                    <a:lnTo>
                      <a:pt x="823913" y="476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9" name="任意多边形: 形状 218"/>
              <p:cNvSpPr/>
              <p:nvPr/>
            </p:nvSpPr>
            <p:spPr>
              <a:xfrm flipH="1">
                <a:off x="2933044" y="3852862"/>
                <a:ext cx="273050" cy="463550"/>
              </a:xfrm>
              <a:custGeom>
                <a:avLst/>
                <a:gdLst>
                  <a:gd name="connsiteX0" fmla="*/ 272732 w 273050"/>
                  <a:gd name="connsiteY0" fmla="*/ 460693 h 463550"/>
                  <a:gd name="connsiteX1" fmla="*/ 4763 w 273050"/>
                  <a:gd name="connsiteY1" fmla="*/ 310198 h 463550"/>
                  <a:gd name="connsiteX2" fmla="*/ 4763 w 273050"/>
                  <a:gd name="connsiteY2" fmla="*/ 4763 h 463550"/>
                  <a:gd name="connsiteX3" fmla="*/ 272732 w 273050"/>
                  <a:gd name="connsiteY3" fmla="*/ 351473 h 463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3050" h="463550">
                    <a:moveTo>
                      <a:pt x="272732" y="460693"/>
                    </a:moveTo>
                    <a:lnTo>
                      <a:pt x="4763" y="310198"/>
                    </a:lnTo>
                    <a:lnTo>
                      <a:pt x="4763" y="4763"/>
                    </a:lnTo>
                    <a:lnTo>
                      <a:pt x="272732" y="35147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0" name="任意多边形: 形状 219"/>
              <p:cNvSpPr/>
              <p:nvPr/>
            </p:nvSpPr>
            <p:spPr>
              <a:xfrm flipH="1">
                <a:off x="4172565" y="2910523"/>
                <a:ext cx="266700" cy="184150"/>
              </a:xfrm>
              <a:custGeom>
                <a:avLst/>
                <a:gdLst>
                  <a:gd name="connsiteX0" fmla="*/ 4763 w 266700"/>
                  <a:gd name="connsiteY0" fmla="*/ 31433 h 184150"/>
                  <a:gd name="connsiteX1" fmla="*/ 51753 w 266700"/>
                  <a:gd name="connsiteY1" fmla="*/ 4763 h 184150"/>
                  <a:gd name="connsiteX2" fmla="*/ 267018 w 266700"/>
                  <a:gd name="connsiteY2" fmla="*/ 126047 h 184150"/>
                  <a:gd name="connsiteX3" fmla="*/ 267018 w 266700"/>
                  <a:gd name="connsiteY3" fmla="*/ 183197 h 18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184150">
                    <a:moveTo>
                      <a:pt x="4763" y="31433"/>
                    </a:moveTo>
                    <a:lnTo>
                      <a:pt x="51753" y="4763"/>
                    </a:lnTo>
                    <a:lnTo>
                      <a:pt x="267018" y="126047"/>
                    </a:lnTo>
                    <a:lnTo>
                      <a:pt x="267018" y="183197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1" name="任意多边形: 形状 220"/>
              <p:cNvSpPr/>
              <p:nvPr/>
            </p:nvSpPr>
            <p:spPr>
              <a:xfrm flipH="1">
                <a:off x="3818234" y="3114993"/>
                <a:ext cx="266700" cy="184150"/>
              </a:xfrm>
              <a:custGeom>
                <a:avLst/>
                <a:gdLst>
                  <a:gd name="connsiteX0" fmla="*/ 4763 w 266700"/>
                  <a:gd name="connsiteY0" fmla="*/ 32067 h 184150"/>
                  <a:gd name="connsiteX1" fmla="*/ 51753 w 266700"/>
                  <a:gd name="connsiteY1" fmla="*/ 4763 h 184150"/>
                  <a:gd name="connsiteX2" fmla="*/ 267017 w 266700"/>
                  <a:gd name="connsiteY2" fmla="*/ 126682 h 184150"/>
                  <a:gd name="connsiteX3" fmla="*/ 267017 w 266700"/>
                  <a:gd name="connsiteY3" fmla="*/ 183832 h 18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184150">
                    <a:moveTo>
                      <a:pt x="4763" y="32067"/>
                    </a:moveTo>
                    <a:lnTo>
                      <a:pt x="51753" y="4763"/>
                    </a:lnTo>
                    <a:lnTo>
                      <a:pt x="267017" y="126682"/>
                    </a:lnTo>
                    <a:lnTo>
                      <a:pt x="267017" y="183832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2" name="任意多边形: 形状 221"/>
              <p:cNvSpPr/>
              <p:nvPr/>
            </p:nvSpPr>
            <p:spPr>
              <a:xfrm flipH="1">
                <a:off x="3470890" y="3318193"/>
                <a:ext cx="266700" cy="184150"/>
              </a:xfrm>
              <a:custGeom>
                <a:avLst/>
                <a:gdLst>
                  <a:gd name="connsiteX0" fmla="*/ 4763 w 266700"/>
                  <a:gd name="connsiteY0" fmla="*/ 32067 h 184150"/>
                  <a:gd name="connsiteX1" fmla="*/ 51753 w 266700"/>
                  <a:gd name="connsiteY1" fmla="*/ 4763 h 184150"/>
                  <a:gd name="connsiteX2" fmla="*/ 267018 w 266700"/>
                  <a:gd name="connsiteY2" fmla="*/ 126682 h 184150"/>
                  <a:gd name="connsiteX3" fmla="*/ 267018 w 266700"/>
                  <a:gd name="connsiteY3" fmla="*/ 183832 h 18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184150">
                    <a:moveTo>
                      <a:pt x="4763" y="32067"/>
                    </a:moveTo>
                    <a:lnTo>
                      <a:pt x="51753" y="4763"/>
                    </a:lnTo>
                    <a:lnTo>
                      <a:pt x="267018" y="126682"/>
                    </a:lnTo>
                    <a:lnTo>
                      <a:pt x="267018" y="183832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3" name="任意多边形: 形状 222"/>
              <p:cNvSpPr/>
              <p:nvPr/>
            </p:nvSpPr>
            <p:spPr>
              <a:xfrm flipH="1">
                <a:off x="4388465" y="2525713"/>
                <a:ext cx="50800" cy="419100"/>
              </a:xfrm>
              <a:custGeom>
                <a:avLst/>
                <a:gdLst>
                  <a:gd name="connsiteX0" fmla="*/ 4763 w 50800"/>
                  <a:gd name="connsiteY0" fmla="*/ 416243 h 419100"/>
                  <a:gd name="connsiteX1" fmla="*/ 4763 w 50800"/>
                  <a:gd name="connsiteY1" fmla="*/ 4763 h 419100"/>
                  <a:gd name="connsiteX2" fmla="*/ 51753 w 50800"/>
                  <a:gd name="connsiteY2" fmla="*/ 36513 h 419100"/>
                  <a:gd name="connsiteX3" fmla="*/ 51753 w 50800"/>
                  <a:gd name="connsiteY3" fmla="*/ 389573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419100">
                    <a:moveTo>
                      <a:pt x="4763" y="416243"/>
                    </a:moveTo>
                    <a:lnTo>
                      <a:pt x="4763" y="4763"/>
                    </a:lnTo>
                    <a:lnTo>
                      <a:pt x="51753" y="36513"/>
                    </a:lnTo>
                    <a:lnTo>
                      <a:pt x="51753" y="389573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4" name="任意多边形: 形状 223"/>
              <p:cNvSpPr/>
              <p:nvPr/>
            </p:nvSpPr>
            <p:spPr>
              <a:xfrm flipH="1">
                <a:off x="4034134" y="2730817"/>
                <a:ext cx="50800" cy="419100"/>
              </a:xfrm>
              <a:custGeom>
                <a:avLst/>
                <a:gdLst>
                  <a:gd name="connsiteX0" fmla="*/ 4763 w 50800"/>
                  <a:gd name="connsiteY0" fmla="*/ 416243 h 419100"/>
                  <a:gd name="connsiteX1" fmla="*/ 4763 w 50800"/>
                  <a:gd name="connsiteY1" fmla="*/ 4763 h 419100"/>
                  <a:gd name="connsiteX2" fmla="*/ 51753 w 50800"/>
                  <a:gd name="connsiteY2" fmla="*/ 36513 h 419100"/>
                  <a:gd name="connsiteX3" fmla="*/ 51753 w 50800"/>
                  <a:gd name="connsiteY3" fmla="*/ 388938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419100">
                    <a:moveTo>
                      <a:pt x="4763" y="416243"/>
                    </a:moveTo>
                    <a:lnTo>
                      <a:pt x="4763" y="4763"/>
                    </a:lnTo>
                    <a:lnTo>
                      <a:pt x="51753" y="36513"/>
                    </a:lnTo>
                    <a:lnTo>
                      <a:pt x="51753" y="388938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5" name="任意多边形: 形状 224"/>
              <p:cNvSpPr/>
              <p:nvPr/>
            </p:nvSpPr>
            <p:spPr>
              <a:xfrm flipH="1">
                <a:off x="3686790" y="2934018"/>
                <a:ext cx="50800" cy="419100"/>
              </a:xfrm>
              <a:custGeom>
                <a:avLst/>
                <a:gdLst>
                  <a:gd name="connsiteX0" fmla="*/ 4763 w 50800"/>
                  <a:gd name="connsiteY0" fmla="*/ 416242 h 419100"/>
                  <a:gd name="connsiteX1" fmla="*/ 4763 w 50800"/>
                  <a:gd name="connsiteY1" fmla="*/ 4763 h 419100"/>
                  <a:gd name="connsiteX2" fmla="*/ 51753 w 50800"/>
                  <a:gd name="connsiteY2" fmla="*/ 36513 h 419100"/>
                  <a:gd name="connsiteX3" fmla="*/ 51753 w 50800"/>
                  <a:gd name="connsiteY3" fmla="*/ 388938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419100">
                    <a:moveTo>
                      <a:pt x="4763" y="416242"/>
                    </a:moveTo>
                    <a:lnTo>
                      <a:pt x="4763" y="4763"/>
                    </a:lnTo>
                    <a:lnTo>
                      <a:pt x="51753" y="36513"/>
                    </a:lnTo>
                    <a:lnTo>
                      <a:pt x="51753" y="388938"/>
                    </a:lnTo>
                    <a:close/>
                  </a:path>
                </a:pathLst>
              </a:custGeom>
              <a:solidFill>
                <a:srgbClr val="E8F2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6" name="任意多边形: 形状 225"/>
              <p:cNvSpPr/>
              <p:nvPr/>
            </p:nvSpPr>
            <p:spPr>
              <a:xfrm flipH="1">
                <a:off x="2848907" y="3319780"/>
                <a:ext cx="355600" cy="234950"/>
              </a:xfrm>
              <a:custGeom>
                <a:avLst/>
                <a:gdLst>
                  <a:gd name="connsiteX0" fmla="*/ 3175 w 355600"/>
                  <a:gd name="connsiteY0" fmla="*/ 182245 h 234950"/>
                  <a:gd name="connsiteX1" fmla="*/ 311150 w 355600"/>
                  <a:gd name="connsiteY1" fmla="*/ 3175 h 234950"/>
                  <a:gd name="connsiteX2" fmla="*/ 355600 w 355600"/>
                  <a:gd name="connsiteY2" fmla="*/ 29210 h 234950"/>
                  <a:gd name="connsiteX3" fmla="*/ 3175 w 355600"/>
                  <a:gd name="connsiteY3" fmla="*/ 233045 h 234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5600" h="234950">
                    <a:moveTo>
                      <a:pt x="3175" y="182245"/>
                    </a:moveTo>
                    <a:lnTo>
                      <a:pt x="311150" y="3175"/>
                    </a:lnTo>
                    <a:lnTo>
                      <a:pt x="355600" y="29210"/>
                    </a:lnTo>
                    <a:lnTo>
                      <a:pt x="3175" y="233045"/>
                    </a:lnTo>
                    <a:close/>
                  </a:path>
                </a:pathLst>
              </a:custGeom>
              <a:solidFill>
                <a:srgbClr val="A9BDFD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7" name="任意多边形: 形状 226"/>
              <p:cNvSpPr/>
              <p:nvPr/>
            </p:nvSpPr>
            <p:spPr>
              <a:xfrm flipH="1">
                <a:off x="2408217" y="3065780"/>
                <a:ext cx="355600" cy="234950"/>
              </a:xfrm>
              <a:custGeom>
                <a:avLst/>
                <a:gdLst>
                  <a:gd name="connsiteX0" fmla="*/ 3175 w 355600"/>
                  <a:gd name="connsiteY0" fmla="*/ 181610 h 234950"/>
                  <a:gd name="connsiteX1" fmla="*/ 310515 w 355600"/>
                  <a:gd name="connsiteY1" fmla="*/ 3175 h 234950"/>
                  <a:gd name="connsiteX2" fmla="*/ 355600 w 355600"/>
                  <a:gd name="connsiteY2" fmla="*/ 29210 h 234950"/>
                  <a:gd name="connsiteX3" fmla="*/ 3175 w 355600"/>
                  <a:gd name="connsiteY3" fmla="*/ 232410 h 234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5600" h="234950">
                    <a:moveTo>
                      <a:pt x="3175" y="181610"/>
                    </a:moveTo>
                    <a:lnTo>
                      <a:pt x="310515" y="3175"/>
                    </a:lnTo>
                    <a:lnTo>
                      <a:pt x="355600" y="29210"/>
                    </a:lnTo>
                    <a:lnTo>
                      <a:pt x="3175" y="232410"/>
                    </a:lnTo>
                    <a:close/>
                  </a:path>
                </a:pathLst>
              </a:custGeom>
              <a:solidFill>
                <a:srgbClr val="E8F2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8" name="任意多边形: 形状 227"/>
              <p:cNvSpPr/>
              <p:nvPr/>
            </p:nvSpPr>
            <p:spPr>
              <a:xfrm flipH="1">
                <a:off x="2405677" y="2684780"/>
                <a:ext cx="50800" cy="412750"/>
              </a:xfrm>
              <a:custGeom>
                <a:avLst/>
                <a:gdLst>
                  <a:gd name="connsiteX0" fmla="*/ 3175 w 50800"/>
                  <a:gd name="connsiteY0" fmla="*/ 29210 h 412750"/>
                  <a:gd name="connsiteX1" fmla="*/ 48260 w 50800"/>
                  <a:gd name="connsiteY1" fmla="*/ 3175 h 412750"/>
                  <a:gd name="connsiteX2" fmla="*/ 48260 w 50800"/>
                  <a:gd name="connsiteY2" fmla="*/ 410210 h 412750"/>
                  <a:gd name="connsiteX3" fmla="*/ 3175 w 50800"/>
                  <a:gd name="connsiteY3" fmla="*/ 384175 h 4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412750">
                    <a:moveTo>
                      <a:pt x="3175" y="29210"/>
                    </a:moveTo>
                    <a:lnTo>
                      <a:pt x="48260" y="3175"/>
                    </a:lnTo>
                    <a:lnTo>
                      <a:pt x="48260" y="410210"/>
                    </a:lnTo>
                    <a:lnTo>
                      <a:pt x="3175" y="384175"/>
                    </a:lnTo>
                    <a:close/>
                  </a:path>
                </a:pathLst>
              </a:custGeom>
              <a:solidFill>
                <a:srgbClr val="E8F2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9" name="任意多边形: 形状 228"/>
              <p:cNvSpPr/>
              <p:nvPr/>
            </p:nvSpPr>
            <p:spPr>
              <a:xfrm flipH="1">
                <a:off x="2845732" y="2938780"/>
                <a:ext cx="50800" cy="412750"/>
              </a:xfrm>
              <a:custGeom>
                <a:avLst/>
                <a:gdLst>
                  <a:gd name="connsiteX0" fmla="*/ 3175 w 50800"/>
                  <a:gd name="connsiteY0" fmla="*/ 29210 h 412750"/>
                  <a:gd name="connsiteX1" fmla="*/ 47625 w 50800"/>
                  <a:gd name="connsiteY1" fmla="*/ 3175 h 412750"/>
                  <a:gd name="connsiteX2" fmla="*/ 47625 w 50800"/>
                  <a:gd name="connsiteY2" fmla="*/ 410210 h 412750"/>
                  <a:gd name="connsiteX3" fmla="*/ 3175 w 50800"/>
                  <a:gd name="connsiteY3" fmla="*/ 384175 h 4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412750">
                    <a:moveTo>
                      <a:pt x="3175" y="29210"/>
                    </a:moveTo>
                    <a:lnTo>
                      <a:pt x="47625" y="3175"/>
                    </a:lnTo>
                    <a:lnTo>
                      <a:pt x="47625" y="410210"/>
                    </a:lnTo>
                    <a:lnTo>
                      <a:pt x="3175" y="384175"/>
                    </a:lnTo>
                    <a:close/>
                  </a:path>
                </a:pathLst>
              </a:custGeom>
              <a:solidFill>
                <a:srgbClr val="E8F2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0" name="任意多边形: 形状 229"/>
              <p:cNvSpPr/>
              <p:nvPr/>
            </p:nvSpPr>
            <p:spPr>
              <a:xfrm flipH="1">
                <a:off x="4270672" y="3319780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680 h 387350"/>
                  <a:gd name="connsiteX2" fmla="*/ 44450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680"/>
                    </a:lnTo>
                    <a:lnTo>
                      <a:pt x="44450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1" name="任意多边形: 形状 230"/>
              <p:cNvSpPr/>
              <p:nvPr/>
            </p:nvSpPr>
            <p:spPr>
              <a:xfrm flipH="1">
                <a:off x="4177327" y="3370580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680 h 387350"/>
                  <a:gd name="connsiteX2" fmla="*/ 44450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680"/>
                    </a:lnTo>
                    <a:lnTo>
                      <a:pt x="44450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2" name="任意多边形: 形状 231"/>
              <p:cNvSpPr/>
              <p:nvPr/>
            </p:nvSpPr>
            <p:spPr>
              <a:xfrm flipH="1">
                <a:off x="4083982" y="3428365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680 h 387350"/>
                  <a:gd name="connsiteX2" fmla="*/ 44450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680"/>
                    </a:lnTo>
                    <a:lnTo>
                      <a:pt x="44450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3" name="任意多边形: 形状 232"/>
              <p:cNvSpPr/>
              <p:nvPr/>
            </p:nvSpPr>
            <p:spPr>
              <a:xfrm flipH="1">
                <a:off x="3996352" y="3480435"/>
                <a:ext cx="298450" cy="387350"/>
              </a:xfrm>
              <a:custGeom>
                <a:avLst/>
                <a:gdLst>
                  <a:gd name="connsiteX0" fmla="*/ 266065 w 298450"/>
                  <a:gd name="connsiteY0" fmla="*/ 3175 h 387350"/>
                  <a:gd name="connsiteX1" fmla="*/ 3175 w 298450"/>
                  <a:gd name="connsiteY1" fmla="*/ 360045 h 387350"/>
                  <a:gd name="connsiteX2" fmla="*/ 45085 w 298450"/>
                  <a:gd name="connsiteY2" fmla="*/ 385445 h 387350"/>
                  <a:gd name="connsiteX3" fmla="*/ 300990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6065" y="3175"/>
                    </a:moveTo>
                    <a:lnTo>
                      <a:pt x="3175" y="360045"/>
                    </a:lnTo>
                    <a:lnTo>
                      <a:pt x="45085" y="385445"/>
                    </a:lnTo>
                    <a:lnTo>
                      <a:pt x="300990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4" name="任意多边形: 形状 233"/>
              <p:cNvSpPr/>
              <p:nvPr/>
            </p:nvSpPr>
            <p:spPr>
              <a:xfrm flipH="1">
                <a:off x="3904277" y="3531235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045 h 387350"/>
                  <a:gd name="connsiteX2" fmla="*/ 44450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045"/>
                    </a:lnTo>
                    <a:lnTo>
                      <a:pt x="44450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5" name="任意多边形: 形状 234"/>
              <p:cNvSpPr/>
              <p:nvPr/>
            </p:nvSpPr>
            <p:spPr>
              <a:xfrm flipH="1">
                <a:off x="3812837" y="3586480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045 h 387350"/>
                  <a:gd name="connsiteX2" fmla="*/ 44450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045"/>
                    </a:lnTo>
                    <a:lnTo>
                      <a:pt x="44450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6" name="任意多边形: 形状 235"/>
              <p:cNvSpPr/>
              <p:nvPr/>
            </p:nvSpPr>
            <p:spPr>
              <a:xfrm flipH="1">
                <a:off x="3720762" y="3637915"/>
                <a:ext cx="298450" cy="387350"/>
              </a:xfrm>
              <a:custGeom>
                <a:avLst/>
                <a:gdLst>
                  <a:gd name="connsiteX0" fmla="*/ 266065 w 298450"/>
                  <a:gd name="connsiteY0" fmla="*/ 3175 h 387350"/>
                  <a:gd name="connsiteX1" fmla="*/ 3175 w 298450"/>
                  <a:gd name="connsiteY1" fmla="*/ 360680 h 387350"/>
                  <a:gd name="connsiteX2" fmla="*/ 45085 w 298450"/>
                  <a:gd name="connsiteY2" fmla="*/ 385445 h 387350"/>
                  <a:gd name="connsiteX3" fmla="*/ 300990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6065" y="3175"/>
                    </a:moveTo>
                    <a:lnTo>
                      <a:pt x="3175" y="360680"/>
                    </a:lnTo>
                    <a:lnTo>
                      <a:pt x="45085" y="385445"/>
                    </a:lnTo>
                    <a:lnTo>
                      <a:pt x="300990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7" name="任意多边形: 形状 236"/>
              <p:cNvSpPr/>
              <p:nvPr/>
            </p:nvSpPr>
            <p:spPr>
              <a:xfrm flipH="1">
                <a:off x="3632497" y="3688080"/>
                <a:ext cx="298450" cy="387350"/>
              </a:xfrm>
              <a:custGeom>
                <a:avLst/>
                <a:gdLst>
                  <a:gd name="connsiteX0" fmla="*/ 266065 w 298450"/>
                  <a:gd name="connsiteY0" fmla="*/ 3175 h 387350"/>
                  <a:gd name="connsiteX1" fmla="*/ 3175 w 298450"/>
                  <a:gd name="connsiteY1" fmla="*/ 360045 h 387350"/>
                  <a:gd name="connsiteX2" fmla="*/ 45085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6065" y="3175"/>
                    </a:moveTo>
                    <a:lnTo>
                      <a:pt x="3175" y="360045"/>
                    </a:lnTo>
                    <a:lnTo>
                      <a:pt x="45085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8" name="任意多边形: 形状 237"/>
              <p:cNvSpPr/>
              <p:nvPr/>
            </p:nvSpPr>
            <p:spPr>
              <a:xfrm flipH="1">
                <a:off x="3537882" y="3745230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045 h 387350"/>
                  <a:gd name="connsiteX2" fmla="*/ 44450 w 298450"/>
                  <a:gd name="connsiteY2" fmla="*/ 385445 h 387350"/>
                  <a:gd name="connsiteX3" fmla="*/ 300355 w 298450"/>
                  <a:gd name="connsiteY3" fmla="*/ 29845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045"/>
                    </a:lnTo>
                    <a:lnTo>
                      <a:pt x="44450" y="385445"/>
                    </a:lnTo>
                    <a:lnTo>
                      <a:pt x="300355" y="2984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9" name="任意多边形: 形状 238"/>
              <p:cNvSpPr/>
              <p:nvPr/>
            </p:nvSpPr>
            <p:spPr>
              <a:xfrm flipH="1">
                <a:off x="3441362" y="3801110"/>
                <a:ext cx="298450" cy="387350"/>
              </a:xfrm>
              <a:custGeom>
                <a:avLst/>
                <a:gdLst>
                  <a:gd name="connsiteX0" fmla="*/ 265430 w 298450"/>
                  <a:gd name="connsiteY0" fmla="*/ 3175 h 387350"/>
                  <a:gd name="connsiteX1" fmla="*/ 3175 w 298450"/>
                  <a:gd name="connsiteY1" fmla="*/ 360045 h 387350"/>
                  <a:gd name="connsiteX2" fmla="*/ 44450 w 298450"/>
                  <a:gd name="connsiteY2" fmla="*/ 385445 h 387350"/>
                  <a:gd name="connsiteX3" fmla="*/ 300355 w 298450"/>
                  <a:gd name="connsiteY3" fmla="*/ 3048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8450" h="387350">
                    <a:moveTo>
                      <a:pt x="265430" y="3175"/>
                    </a:moveTo>
                    <a:lnTo>
                      <a:pt x="3175" y="360045"/>
                    </a:lnTo>
                    <a:lnTo>
                      <a:pt x="44450" y="385445"/>
                    </a:lnTo>
                    <a:lnTo>
                      <a:pt x="30035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0" name="任意多边形: 形状 239"/>
              <p:cNvSpPr/>
              <p:nvPr/>
            </p:nvSpPr>
            <p:spPr>
              <a:xfrm flipH="1">
                <a:off x="4524672" y="3677285"/>
                <a:ext cx="44450" cy="127000"/>
              </a:xfrm>
              <a:custGeom>
                <a:avLst/>
                <a:gdLst>
                  <a:gd name="connsiteX0" fmla="*/ 3175 w 44450"/>
                  <a:gd name="connsiteY0" fmla="*/ 3175 h 127000"/>
                  <a:gd name="connsiteX1" fmla="*/ 3175 w 44450"/>
                  <a:gd name="connsiteY1" fmla="*/ 103505 h 127000"/>
                  <a:gd name="connsiteX2" fmla="*/ 46355 w 44450"/>
                  <a:gd name="connsiteY2" fmla="*/ 129540 h 127000"/>
                  <a:gd name="connsiteX3" fmla="*/ 44450 w 44450"/>
                  <a:gd name="connsiteY3" fmla="*/ 27940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" h="127000">
                    <a:moveTo>
                      <a:pt x="3175" y="3175"/>
                    </a:moveTo>
                    <a:lnTo>
                      <a:pt x="3175" y="103505"/>
                    </a:lnTo>
                    <a:lnTo>
                      <a:pt x="46355" y="129540"/>
                    </a:lnTo>
                    <a:lnTo>
                      <a:pt x="44450" y="2794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1" name="任意多边形: 形状 240"/>
              <p:cNvSpPr/>
              <p:nvPr/>
            </p:nvSpPr>
            <p:spPr>
              <a:xfrm flipH="1">
                <a:off x="4431327" y="3726180"/>
                <a:ext cx="44450" cy="133350"/>
              </a:xfrm>
              <a:custGeom>
                <a:avLst/>
                <a:gdLst>
                  <a:gd name="connsiteX0" fmla="*/ 3175 w 44450"/>
                  <a:gd name="connsiteY0" fmla="*/ 3175 h 133350"/>
                  <a:gd name="connsiteX1" fmla="*/ 3175 w 44450"/>
                  <a:gd name="connsiteY1" fmla="*/ 109855 h 133350"/>
                  <a:gd name="connsiteX2" fmla="*/ 46355 w 44450"/>
                  <a:gd name="connsiteY2" fmla="*/ 133985 h 133350"/>
                  <a:gd name="connsiteX3" fmla="*/ 44450 w 44450"/>
                  <a:gd name="connsiteY3" fmla="*/ 2921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" h="133350">
                    <a:moveTo>
                      <a:pt x="3175" y="3175"/>
                    </a:moveTo>
                    <a:lnTo>
                      <a:pt x="3175" y="109855"/>
                    </a:lnTo>
                    <a:lnTo>
                      <a:pt x="46355" y="133985"/>
                    </a:lnTo>
                    <a:lnTo>
                      <a:pt x="44450" y="2921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2" name="任意多边形: 形状 241"/>
              <p:cNvSpPr/>
              <p:nvPr/>
            </p:nvSpPr>
            <p:spPr>
              <a:xfrm flipH="1">
                <a:off x="4340522" y="3785870"/>
                <a:ext cx="44450" cy="127000"/>
              </a:xfrm>
              <a:custGeom>
                <a:avLst/>
                <a:gdLst>
                  <a:gd name="connsiteX0" fmla="*/ 5715 w 44450"/>
                  <a:gd name="connsiteY0" fmla="*/ 3175 h 127000"/>
                  <a:gd name="connsiteX1" fmla="*/ 3175 w 44450"/>
                  <a:gd name="connsiteY1" fmla="*/ 102870 h 127000"/>
                  <a:gd name="connsiteX2" fmla="*/ 45720 w 44450"/>
                  <a:gd name="connsiteY2" fmla="*/ 127000 h 127000"/>
                  <a:gd name="connsiteX3" fmla="*/ 46990 w 44450"/>
                  <a:gd name="connsiteY3" fmla="*/ 27940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" h="127000">
                    <a:moveTo>
                      <a:pt x="5715" y="3175"/>
                    </a:moveTo>
                    <a:lnTo>
                      <a:pt x="3175" y="102870"/>
                    </a:lnTo>
                    <a:lnTo>
                      <a:pt x="45720" y="127000"/>
                    </a:lnTo>
                    <a:lnTo>
                      <a:pt x="46990" y="2794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3" name="任意多边形: 形状 242"/>
              <p:cNvSpPr/>
              <p:nvPr/>
            </p:nvSpPr>
            <p:spPr>
              <a:xfrm flipH="1">
                <a:off x="4246542" y="3836035"/>
                <a:ext cx="50800" cy="127000"/>
              </a:xfrm>
              <a:custGeom>
                <a:avLst/>
                <a:gdLst>
                  <a:gd name="connsiteX0" fmla="*/ 5715 w 50800"/>
                  <a:gd name="connsiteY0" fmla="*/ 3175 h 127000"/>
                  <a:gd name="connsiteX1" fmla="*/ 3175 w 50800"/>
                  <a:gd name="connsiteY1" fmla="*/ 103505 h 127000"/>
                  <a:gd name="connsiteX2" fmla="*/ 46355 w 50800"/>
                  <a:gd name="connsiteY2" fmla="*/ 127635 h 127000"/>
                  <a:gd name="connsiteX3" fmla="*/ 47625 w 50800"/>
                  <a:gd name="connsiteY3" fmla="*/ 28575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27000">
                    <a:moveTo>
                      <a:pt x="5715" y="3175"/>
                    </a:moveTo>
                    <a:lnTo>
                      <a:pt x="3175" y="103505"/>
                    </a:lnTo>
                    <a:lnTo>
                      <a:pt x="46355" y="127635"/>
                    </a:lnTo>
                    <a:lnTo>
                      <a:pt x="47625" y="285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4" name="任意多边形: 形状 243"/>
              <p:cNvSpPr/>
              <p:nvPr/>
            </p:nvSpPr>
            <p:spPr>
              <a:xfrm flipH="1">
                <a:off x="4161452" y="3888105"/>
                <a:ext cx="44450" cy="127000"/>
              </a:xfrm>
              <a:custGeom>
                <a:avLst/>
                <a:gdLst>
                  <a:gd name="connsiteX0" fmla="*/ 5715 w 44450"/>
                  <a:gd name="connsiteY0" fmla="*/ 3175 h 127000"/>
                  <a:gd name="connsiteX1" fmla="*/ 3175 w 44450"/>
                  <a:gd name="connsiteY1" fmla="*/ 102870 h 127000"/>
                  <a:gd name="connsiteX2" fmla="*/ 46355 w 44450"/>
                  <a:gd name="connsiteY2" fmla="*/ 127000 h 127000"/>
                  <a:gd name="connsiteX3" fmla="*/ 46990 w 44450"/>
                  <a:gd name="connsiteY3" fmla="*/ 28575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" h="127000">
                    <a:moveTo>
                      <a:pt x="5715" y="3175"/>
                    </a:moveTo>
                    <a:lnTo>
                      <a:pt x="3175" y="102870"/>
                    </a:lnTo>
                    <a:lnTo>
                      <a:pt x="46355" y="127000"/>
                    </a:lnTo>
                    <a:lnTo>
                      <a:pt x="46990" y="285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5" name="任意多边形: 形状 244"/>
              <p:cNvSpPr/>
              <p:nvPr/>
            </p:nvSpPr>
            <p:spPr>
              <a:xfrm flipH="1">
                <a:off x="4069377" y="3943350"/>
                <a:ext cx="44450" cy="127000"/>
              </a:xfrm>
              <a:custGeom>
                <a:avLst/>
                <a:gdLst>
                  <a:gd name="connsiteX0" fmla="*/ 5715 w 44450"/>
                  <a:gd name="connsiteY0" fmla="*/ 3175 h 127000"/>
                  <a:gd name="connsiteX1" fmla="*/ 3175 w 44450"/>
                  <a:gd name="connsiteY1" fmla="*/ 102870 h 127000"/>
                  <a:gd name="connsiteX2" fmla="*/ 45720 w 44450"/>
                  <a:gd name="connsiteY2" fmla="*/ 127000 h 127000"/>
                  <a:gd name="connsiteX3" fmla="*/ 46990 w 44450"/>
                  <a:gd name="connsiteY3" fmla="*/ 27940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" h="127000">
                    <a:moveTo>
                      <a:pt x="5715" y="3175"/>
                    </a:moveTo>
                    <a:lnTo>
                      <a:pt x="3175" y="102870"/>
                    </a:lnTo>
                    <a:lnTo>
                      <a:pt x="45720" y="127000"/>
                    </a:lnTo>
                    <a:lnTo>
                      <a:pt x="46990" y="2794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6" name="任意多边形: 形状 245"/>
              <p:cNvSpPr/>
              <p:nvPr/>
            </p:nvSpPr>
            <p:spPr>
              <a:xfrm flipH="1">
                <a:off x="3970317" y="3994150"/>
                <a:ext cx="50800" cy="127000"/>
              </a:xfrm>
              <a:custGeom>
                <a:avLst/>
                <a:gdLst>
                  <a:gd name="connsiteX0" fmla="*/ 5715 w 50800"/>
                  <a:gd name="connsiteY0" fmla="*/ 3175 h 127000"/>
                  <a:gd name="connsiteX1" fmla="*/ 3175 w 50800"/>
                  <a:gd name="connsiteY1" fmla="*/ 104140 h 127000"/>
                  <a:gd name="connsiteX2" fmla="*/ 46355 w 50800"/>
                  <a:gd name="connsiteY2" fmla="*/ 128270 h 127000"/>
                  <a:gd name="connsiteX3" fmla="*/ 47625 w 50800"/>
                  <a:gd name="connsiteY3" fmla="*/ 27940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27000">
                    <a:moveTo>
                      <a:pt x="5715" y="3175"/>
                    </a:moveTo>
                    <a:lnTo>
                      <a:pt x="3175" y="104140"/>
                    </a:lnTo>
                    <a:lnTo>
                      <a:pt x="46355" y="128270"/>
                    </a:lnTo>
                    <a:lnTo>
                      <a:pt x="47625" y="2794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7" name="任意多边形: 形状 246"/>
              <p:cNvSpPr/>
              <p:nvPr/>
            </p:nvSpPr>
            <p:spPr>
              <a:xfrm flipH="1">
                <a:off x="3883322" y="4044950"/>
                <a:ext cx="50800" cy="127000"/>
              </a:xfrm>
              <a:custGeom>
                <a:avLst/>
                <a:gdLst>
                  <a:gd name="connsiteX0" fmla="*/ 5715 w 50800"/>
                  <a:gd name="connsiteY0" fmla="*/ 3175 h 127000"/>
                  <a:gd name="connsiteX1" fmla="*/ 3175 w 50800"/>
                  <a:gd name="connsiteY1" fmla="*/ 104775 h 127000"/>
                  <a:gd name="connsiteX2" fmla="*/ 46355 w 50800"/>
                  <a:gd name="connsiteY2" fmla="*/ 128905 h 127000"/>
                  <a:gd name="connsiteX3" fmla="*/ 47625 w 50800"/>
                  <a:gd name="connsiteY3" fmla="*/ 28575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27000">
                    <a:moveTo>
                      <a:pt x="5715" y="3175"/>
                    </a:moveTo>
                    <a:lnTo>
                      <a:pt x="3175" y="104775"/>
                    </a:lnTo>
                    <a:lnTo>
                      <a:pt x="46355" y="128905"/>
                    </a:lnTo>
                    <a:lnTo>
                      <a:pt x="47625" y="285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8" name="任意多边形: 形状 247"/>
              <p:cNvSpPr/>
              <p:nvPr/>
            </p:nvSpPr>
            <p:spPr>
              <a:xfrm flipH="1">
                <a:off x="3788072" y="4100195"/>
                <a:ext cx="50800" cy="127000"/>
              </a:xfrm>
              <a:custGeom>
                <a:avLst/>
                <a:gdLst>
                  <a:gd name="connsiteX0" fmla="*/ 5715 w 50800"/>
                  <a:gd name="connsiteY0" fmla="*/ 3175 h 127000"/>
                  <a:gd name="connsiteX1" fmla="*/ 3175 w 50800"/>
                  <a:gd name="connsiteY1" fmla="*/ 104140 h 127000"/>
                  <a:gd name="connsiteX2" fmla="*/ 46355 w 50800"/>
                  <a:gd name="connsiteY2" fmla="*/ 128270 h 127000"/>
                  <a:gd name="connsiteX3" fmla="*/ 47625 w 50800"/>
                  <a:gd name="connsiteY3" fmla="*/ 28575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27000">
                    <a:moveTo>
                      <a:pt x="5715" y="3175"/>
                    </a:moveTo>
                    <a:lnTo>
                      <a:pt x="3175" y="104140"/>
                    </a:lnTo>
                    <a:lnTo>
                      <a:pt x="46355" y="128270"/>
                    </a:lnTo>
                    <a:lnTo>
                      <a:pt x="47625" y="285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9" name="任意多边形: 形状 248"/>
              <p:cNvSpPr/>
              <p:nvPr/>
            </p:nvSpPr>
            <p:spPr>
              <a:xfrm flipH="1">
                <a:off x="3695362" y="4157980"/>
                <a:ext cx="44450" cy="127000"/>
              </a:xfrm>
              <a:custGeom>
                <a:avLst/>
                <a:gdLst>
                  <a:gd name="connsiteX0" fmla="*/ 3175 w 44450"/>
                  <a:gd name="connsiteY0" fmla="*/ 3175 h 127000"/>
                  <a:gd name="connsiteX1" fmla="*/ 3175 w 44450"/>
                  <a:gd name="connsiteY1" fmla="*/ 102870 h 127000"/>
                  <a:gd name="connsiteX2" fmla="*/ 46355 w 44450"/>
                  <a:gd name="connsiteY2" fmla="*/ 127000 h 127000"/>
                  <a:gd name="connsiteX3" fmla="*/ 46990 w 44450"/>
                  <a:gd name="connsiteY3" fmla="*/ 26670 h 127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" h="127000">
                    <a:moveTo>
                      <a:pt x="3175" y="3175"/>
                    </a:moveTo>
                    <a:lnTo>
                      <a:pt x="3175" y="102870"/>
                    </a:lnTo>
                    <a:lnTo>
                      <a:pt x="46355" y="127000"/>
                    </a:lnTo>
                    <a:lnTo>
                      <a:pt x="46990" y="2667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0" name="任意多边形: 形状 249"/>
              <p:cNvSpPr/>
              <p:nvPr/>
            </p:nvSpPr>
            <p:spPr>
              <a:xfrm flipH="1">
                <a:off x="2803822" y="3792855"/>
                <a:ext cx="342900" cy="361950"/>
              </a:xfrm>
              <a:custGeom>
                <a:avLst/>
                <a:gdLst>
                  <a:gd name="connsiteX0" fmla="*/ 3175 w 342900"/>
                  <a:gd name="connsiteY0" fmla="*/ 31750 h 361950"/>
                  <a:gd name="connsiteX1" fmla="*/ 297815 w 342900"/>
                  <a:gd name="connsiteY1" fmla="*/ 363855 h 361950"/>
                  <a:gd name="connsiteX2" fmla="*/ 344170 w 342900"/>
                  <a:gd name="connsiteY2" fmla="*/ 337820 h 361950"/>
                  <a:gd name="connsiteX3" fmla="*/ 52070 w 342900"/>
                  <a:gd name="connsiteY3" fmla="*/ 31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00" h="361950">
                    <a:moveTo>
                      <a:pt x="3175" y="31750"/>
                    </a:moveTo>
                    <a:lnTo>
                      <a:pt x="297815" y="363855"/>
                    </a:lnTo>
                    <a:lnTo>
                      <a:pt x="344170" y="337820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1" name="任意多边形: 形状 250"/>
              <p:cNvSpPr/>
              <p:nvPr/>
            </p:nvSpPr>
            <p:spPr>
              <a:xfrm flipH="1">
                <a:off x="2693332" y="3728720"/>
                <a:ext cx="342900" cy="361950"/>
              </a:xfrm>
              <a:custGeom>
                <a:avLst/>
                <a:gdLst>
                  <a:gd name="connsiteX0" fmla="*/ 3175 w 342900"/>
                  <a:gd name="connsiteY0" fmla="*/ 31115 h 361950"/>
                  <a:gd name="connsiteX1" fmla="*/ 298450 w 342900"/>
                  <a:gd name="connsiteY1" fmla="*/ 363220 h 361950"/>
                  <a:gd name="connsiteX2" fmla="*/ 344170 w 342900"/>
                  <a:gd name="connsiteY2" fmla="*/ 337185 h 361950"/>
                  <a:gd name="connsiteX3" fmla="*/ 52070 w 342900"/>
                  <a:gd name="connsiteY3" fmla="*/ 31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00" h="361950">
                    <a:moveTo>
                      <a:pt x="3175" y="31115"/>
                    </a:moveTo>
                    <a:lnTo>
                      <a:pt x="298450" y="363220"/>
                    </a:lnTo>
                    <a:lnTo>
                      <a:pt x="344170" y="337185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2" name="任意多边形: 形状 251"/>
              <p:cNvSpPr/>
              <p:nvPr/>
            </p:nvSpPr>
            <p:spPr>
              <a:xfrm flipH="1">
                <a:off x="2573952" y="3658235"/>
                <a:ext cx="342900" cy="361950"/>
              </a:xfrm>
              <a:custGeom>
                <a:avLst/>
                <a:gdLst>
                  <a:gd name="connsiteX0" fmla="*/ 3175 w 342900"/>
                  <a:gd name="connsiteY0" fmla="*/ 31115 h 361950"/>
                  <a:gd name="connsiteX1" fmla="*/ 297815 w 342900"/>
                  <a:gd name="connsiteY1" fmla="*/ 363220 h 361950"/>
                  <a:gd name="connsiteX2" fmla="*/ 344170 w 342900"/>
                  <a:gd name="connsiteY2" fmla="*/ 337185 h 361950"/>
                  <a:gd name="connsiteX3" fmla="*/ 52070 w 342900"/>
                  <a:gd name="connsiteY3" fmla="*/ 31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00" h="361950">
                    <a:moveTo>
                      <a:pt x="3175" y="31115"/>
                    </a:moveTo>
                    <a:lnTo>
                      <a:pt x="297815" y="363220"/>
                    </a:lnTo>
                    <a:lnTo>
                      <a:pt x="344170" y="337185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3" name="任意多边形: 形状 252"/>
              <p:cNvSpPr/>
              <p:nvPr/>
            </p:nvSpPr>
            <p:spPr>
              <a:xfrm flipH="1">
                <a:off x="2466002" y="3596005"/>
                <a:ext cx="342900" cy="361950"/>
              </a:xfrm>
              <a:custGeom>
                <a:avLst/>
                <a:gdLst>
                  <a:gd name="connsiteX0" fmla="*/ 3175 w 342900"/>
                  <a:gd name="connsiteY0" fmla="*/ 31750 h 361950"/>
                  <a:gd name="connsiteX1" fmla="*/ 298450 w 342900"/>
                  <a:gd name="connsiteY1" fmla="*/ 363855 h 361950"/>
                  <a:gd name="connsiteX2" fmla="*/ 344170 w 342900"/>
                  <a:gd name="connsiteY2" fmla="*/ 337820 h 361950"/>
                  <a:gd name="connsiteX3" fmla="*/ 52070 w 342900"/>
                  <a:gd name="connsiteY3" fmla="*/ 31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00" h="361950">
                    <a:moveTo>
                      <a:pt x="3175" y="31750"/>
                    </a:moveTo>
                    <a:lnTo>
                      <a:pt x="298450" y="363855"/>
                    </a:lnTo>
                    <a:lnTo>
                      <a:pt x="344170" y="337820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4" name="任意多边形: 形状 253"/>
              <p:cNvSpPr/>
              <p:nvPr/>
            </p:nvSpPr>
            <p:spPr>
              <a:xfrm flipH="1">
                <a:off x="2361862" y="3540760"/>
                <a:ext cx="342900" cy="361950"/>
              </a:xfrm>
              <a:custGeom>
                <a:avLst/>
                <a:gdLst>
                  <a:gd name="connsiteX0" fmla="*/ 3175 w 342900"/>
                  <a:gd name="connsiteY0" fmla="*/ 31750 h 361950"/>
                  <a:gd name="connsiteX1" fmla="*/ 297815 w 342900"/>
                  <a:gd name="connsiteY1" fmla="*/ 363855 h 361950"/>
                  <a:gd name="connsiteX2" fmla="*/ 344170 w 342900"/>
                  <a:gd name="connsiteY2" fmla="*/ 337185 h 361950"/>
                  <a:gd name="connsiteX3" fmla="*/ 52070 w 342900"/>
                  <a:gd name="connsiteY3" fmla="*/ 31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00" h="361950">
                    <a:moveTo>
                      <a:pt x="3175" y="31750"/>
                    </a:moveTo>
                    <a:lnTo>
                      <a:pt x="297815" y="363855"/>
                    </a:lnTo>
                    <a:lnTo>
                      <a:pt x="344170" y="337185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5" name="任意多边形: 形状 254"/>
              <p:cNvSpPr/>
              <p:nvPr/>
            </p:nvSpPr>
            <p:spPr>
              <a:xfrm flipH="1">
                <a:off x="2257087" y="3477895"/>
                <a:ext cx="349250" cy="368300"/>
              </a:xfrm>
              <a:custGeom>
                <a:avLst/>
                <a:gdLst>
                  <a:gd name="connsiteX0" fmla="*/ 3175 w 349250"/>
                  <a:gd name="connsiteY0" fmla="*/ 31750 h 368300"/>
                  <a:gd name="connsiteX1" fmla="*/ 302895 w 349250"/>
                  <a:gd name="connsiteY1" fmla="*/ 368935 h 368300"/>
                  <a:gd name="connsiteX2" fmla="*/ 349250 w 349250"/>
                  <a:gd name="connsiteY2" fmla="*/ 342900 h 368300"/>
                  <a:gd name="connsiteX3" fmla="*/ 52070 w 349250"/>
                  <a:gd name="connsiteY3" fmla="*/ 3175 h 36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9250" h="368300">
                    <a:moveTo>
                      <a:pt x="3175" y="31750"/>
                    </a:moveTo>
                    <a:lnTo>
                      <a:pt x="302895" y="368935"/>
                    </a:lnTo>
                    <a:lnTo>
                      <a:pt x="349250" y="342900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6" name="任意多边形: 形状 255"/>
              <p:cNvSpPr/>
              <p:nvPr/>
            </p:nvSpPr>
            <p:spPr>
              <a:xfrm flipH="1">
                <a:off x="2173902" y="3434715"/>
                <a:ext cx="342900" cy="361950"/>
              </a:xfrm>
              <a:custGeom>
                <a:avLst/>
                <a:gdLst>
                  <a:gd name="connsiteX0" fmla="*/ 3175 w 342900"/>
                  <a:gd name="connsiteY0" fmla="*/ 31115 h 361950"/>
                  <a:gd name="connsiteX1" fmla="*/ 297815 w 342900"/>
                  <a:gd name="connsiteY1" fmla="*/ 363220 h 361950"/>
                  <a:gd name="connsiteX2" fmla="*/ 344170 w 342900"/>
                  <a:gd name="connsiteY2" fmla="*/ 337185 h 361950"/>
                  <a:gd name="connsiteX3" fmla="*/ 52070 w 342900"/>
                  <a:gd name="connsiteY3" fmla="*/ 3175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00" h="361950">
                    <a:moveTo>
                      <a:pt x="3175" y="31115"/>
                    </a:moveTo>
                    <a:lnTo>
                      <a:pt x="297815" y="363220"/>
                    </a:lnTo>
                    <a:lnTo>
                      <a:pt x="344170" y="337185"/>
                    </a:lnTo>
                    <a:lnTo>
                      <a:pt x="52070" y="317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7" name="任意多边形: 形状 256"/>
              <p:cNvSpPr/>
              <p:nvPr/>
            </p:nvSpPr>
            <p:spPr>
              <a:xfrm flipH="1">
                <a:off x="2257087" y="3817620"/>
                <a:ext cx="50800" cy="133350"/>
              </a:xfrm>
              <a:custGeom>
                <a:avLst/>
                <a:gdLst>
                  <a:gd name="connsiteX0" fmla="*/ 50800 w 50800"/>
                  <a:gd name="connsiteY0" fmla="*/ 3175 h 133350"/>
                  <a:gd name="connsiteX1" fmla="*/ 50800 w 50800"/>
                  <a:gd name="connsiteY1" fmla="*/ 107950 h 133350"/>
                  <a:gd name="connsiteX2" fmla="*/ 3175 w 50800"/>
                  <a:gd name="connsiteY2" fmla="*/ 135255 h 133350"/>
                  <a:gd name="connsiteX3" fmla="*/ 3175 w 50800"/>
                  <a:gd name="connsiteY3" fmla="*/ 3048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50800" y="3175"/>
                    </a:moveTo>
                    <a:lnTo>
                      <a:pt x="50800" y="107950"/>
                    </a:lnTo>
                    <a:lnTo>
                      <a:pt x="3175" y="135255"/>
                    </a:lnTo>
                    <a:lnTo>
                      <a:pt x="317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8" name="任意多边形: 形状 257"/>
              <p:cNvSpPr/>
              <p:nvPr/>
            </p:nvSpPr>
            <p:spPr>
              <a:xfrm flipH="1">
                <a:off x="2170727" y="3768725"/>
                <a:ext cx="50800" cy="133350"/>
              </a:xfrm>
              <a:custGeom>
                <a:avLst/>
                <a:gdLst>
                  <a:gd name="connsiteX0" fmla="*/ 48895 w 50800"/>
                  <a:gd name="connsiteY0" fmla="*/ 3175 h 133350"/>
                  <a:gd name="connsiteX1" fmla="*/ 48895 w 50800"/>
                  <a:gd name="connsiteY1" fmla="*/ 111125 h 133350"/>
                  <a:gd name="connsiteX2" fmla="*/ 3175 w 50800"/>
                  <a:gd name="connsiteY2" fmla="*/ 135890 h 133350"/>
                  <a:gd name="connsiteX3" fmla="*/ 3175 w 50800"/>
                  <a:gd name="connsiteY3" fmla="*/ 2794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48895" y="3175"/>
                    </a:moveTo>
                    <a:lnTo>
                      <a:pt x="48895" y="111125"/>
                    </a:lnTo>
                    <a:lnTo>
                      <a:pt x="3175" y="135890"/>
                    </a:lnTo>
                    <a:lnTo>
                      <a:pt x="3175" y="2794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9" name="任意多边形: 形状 258"/>
              <p:cNvSpPr/>
              <p:nvPr/>
            </p:nvSpPr>
            <p:spPr>
              <a:xfrm flipH="1">
                <a:off x="2358687" y="3875405"/>
                <a:ext cx="50800" cy="133350"/>
              </a:xfrm>
              <a:custGeom>
                <a:avLst/>
                <a:gdLst>
                  <a:gd name="connsiteX0" fmla="*/ 50800 w 50800"/>
                  <a:gd name="connsiteY0" fmla="*/ 3175 h 133350"/>
                  <a:gd name="connsiteX1" fmla="*/ 50800 w 50800"/>
                  <a:gd name="connsiteY1" fmla="*/ 107950 h 133350"/>
                  <a:gd name="connsiteX2" fmla="*/ 3175 w 50800"/>
                  <a:gd name="connsiteY2" fmla="*/ 135255 h 133350"/>
                  <a:gd name="connsiteX3" fmla="*/ 3175 w 50800"/>
                  <a:gd name="connsiteY3" fmla="*/ 3048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50800" y="3175"/>
                    </a:moveTo>
                    <a:lnTo>
                      <a:pt x="50800" y="107950"/>
                    </a:lnTo>
                    <a:lnTo>
                      <a:pt x="3175" y="135255"/>
                    </a:lnTo>
                    <a:lnTo>
                      <a:pt x="317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0" name="任意多边形: 形状 259"/>
              <p:cNvSpPr/>
              <p:nvPr/>
            </p:nvSpPr>
            <p:spPr>
              <a:xfrm flipH="1">
                <a:off x="2462192" y="3930650"/>
                <a:ext cx="50800" cy="133350"/>
              </a:xfrm>
              <a:custGeom>
                <a:avLst/>
                <a:gdLst>
                  <a:gd name="connsiteX0" fmla="*/ 50165 w 50800"/>
                  <a:gd name="connsiteY0" fmla="*/ 3175 h 133350"/>
                  <a:gd name="connsiteX1" fmla="*/ 50165 w 50800"/>
                  <a:gd name="connsiteY1" fmla="*/ 107950 h 133350"/>
                  <a:gd name="connsiteX2" fmla="*/ 3175 w 50800"/>
                  <a:gd name="connsiteY2" fmla="*/ 135890 h 133350"/>
                  <a:gd name="connsiteX3" fmla="*/ 3175 w 50800"/>
                  <a:gd name="connsiteY3" fmla="*/ 31115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50165" y="3175"/>
                    </a:moveTo>
                    <a:lnTo>
                      <a:pt x="50165" y="107950"/>
                    </a:lnTo>
                    <a:lnTo>
                      <a:pt x="3175" y="135890"/>
                    </a:lnTo>
                    <a:lnTo>
                      <a:pt x="3175" y="3111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1" name="任意多边形: 形状 260"/>
              <p:cNvSpPr/>
              <p:nvPr/>
            </p:nvSpPr>
            <p:spPr>
              <a:xfrm flipH="1">
                <a:off x="2570777" y="3992245"/>
                <a:ext cx="50800" cy="133350"/>
              </a:xfrm>
              <a:custGeom>
                <a:avLst/>
                <a:gdLst>
                  <a:gd name="connsiteX0" fmla="*/ 50165 w 50800"/>
                  <a:gd name="connsiteY0" fmla="*/ 3175 h 133350"/>
                  <a:gd name="connsiteX1" fmla="*/ 50165 w 50800"/>
                  <a:gd name="connsiteY1" fmla="*/ 107950 h 133350"/>
                  <a:gd name="connsiteX2" fmla="*/ 3175 w 50800"/>
                  <a:gd name="connsiteY2" fmla="*/ 135255 h 133350"/>
                  <a:gd name="connsiteX3" fmla="*/ 3175 w 50800"/>
                  <a:gd name="connsiteY3" fmla="*/ 3048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50165" y="3175"/>
                    </a:moveTo>
                    <a:lnTo>
                      <a:pt x="50165" y="107950"/>
                    </a:lnTo>
                    <a:lnTo>
                      <a:pt x="3175" y="135255"/>
                    </a:lnTo>
                    <a:lnTo>
                      <a:pt x="3175" y="3048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2" name="任意多边形: 形状 261"/>
              <p:cNvSpPr/>
              <p:nvPr/>
            </p:nvSpPr>
            <p:spPr>
              <a:xfrm flipH="1">
                <a:off x="2691427" y="4063365"/>
                <a:ext cx="50800" cy="133350"/>
              </a:xfrm>
              <a:custGeom>
                <a:avLst/>
                <a:gdLst>
                  <a:gd name="connsiteX0" fmla="*/ 50165 w 50800"/>
                  <a:gd name="connsiteY0" fmla="*/ 3175 h 133350"/>
                  <a:gd name="connsiteX1" fmla="*/ 50165 w 50800"/>
                  <a:gd name="connsiteY1" fmla="*/ 107950 h 133350"/>
                  <a:gd name="connsiteX2" fmla="*/ 3175 w 50800"/>
                  <a:gd name="connsiteY2" fmla="*/ 135890 h 133350"/>
                  <a:gd name="connsiteX3" fmla="*/ 3175 w 50800"/>
                  <a:gd name="connsiteY3" fmla="*/ 31115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50165" y="3175"/>
                    </a:moveTo>
                    <a:lnTo>
                      <a:pt x="50165" y="107950"/>
                    </a:lnTo>
                    <a:lnTo>
                      <a:pt x="3175" y="135890"/>
                    </a:lnTo>
                    <a:lnTo>
                      <a:pt x="3175" y="3111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3" name="任意多边形: 形状 262"/>
              <p:cNvSpPr/>
              <p:nvPr/>
            </p:nvSpPr>
            <p:spPr>
              <a:xfrm flipH="1">
                <a:off x="2799377" y="4128135"/>
                <a:ext cx="50800" cy="133350"/>
              </a:xfrm>
              <a:custGeom>
                <a:avLst/>
                <a:gdLst>
                  <a:gd name="connsiteX0" fmla="*/ 50165 w 50800"/>
                  <a:gd name="connsiteY0" fmla="*/ 3175 h 133350"/>
                  <a:gd name="connsiteX1" fmla="*/ 50165 w 50800"/>
                  <a:gd name="connsiteY1" fmla="*/ 107950 h 133350"/>
                  <a:gd name="connsiteX2" fmla="*/ 3175 w 50800"/>
                  <a:gd name="connsiteY2" fmla="*/ 135890 h 133350"/>
                  <a:gd name="connsiteX3" fmla="*/ 3175 w 50800"/>
                  <a:gd name="connsiteY3" fmla="*/ 31115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33350">
                    <a:moveTo>
                      <a:pt x="50165" y="3175"/>
                    </a:moveTo>
                    <a:lnTo>
                      <a:pt x="50165" y="107950"/>
                    </a:lnTo>
                    <a:lnTo>
                      <a:pt x="3175" y="135890"/>
                    </a:lnTo>
                    <a:lnTo>
                      <a:pt x="3175" y="31115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4" name="任意多边形: 形状 263"/>
              <p:cNvSpPr/>
              <p:nvPr/>
            </p:nvSpPr>
            <p:spPr>
              <a:xfrm flipH="1">
                <a:off x="3287692" y="2225675"/>
                <a:ext cx="1238250" cy="914400"/>
              </a:xfrm>
              <a:custGeom>
                <a:avLst/>
                <a:gdLst>
                  <a:gd name="connsiteX0" fmla="*/ 3175 w 1238250"/>
                  <a:gd name="connsiteY0" fmla="*/ 205740 h 914400"/>
                  <a:gd name="connsiteX1" fmla="*/ 3175 w 1238250"/>
                  <a:gd name="connsiteY1" fmla="*/ 3175 h 914400"/>
                  <a:gd name="connsiteX2" fmla="*/ 1236980 w 1238250"/>
                  <a:gd name="connsiteY2" fmla="*/ 715010 h 914400"/>
                  <a:gd name="connsiteX3" fmla="*/ 1236980 w 1238250"/>
                  <a:gd name="connsiteY3" fmla="*/ 917575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250" h="914400">
                    <a:moveTo>
                      <a:pt x="3175" y="205740"/>
                    </a:moveTo>
                    <a:lnTo>
                      <a:pt x="3175" y="3175"/>
                    </a:lnTo>
                    <a:lnTo>
                      <a:pt x="1236980" y="715010"/>
                    </a:lnTo>
                    <a:lnTo>
                      <a:pt x="1236980" y="917575"/>
                    </a:lnTo>
                    <a:close/>
                  </a:path>
                </a:pathLst>
              </a:custGeom>
              <a:solidFill>
                <a:srgbClr val="7E9AF2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5" name="任意多边形: 形状 264"/>
              <p:cNvSpPr/>
              <p:nvPr/>
            </p:nvSpPr>
            <p:spPr>
              <a:xfrm flipH="1">
                <a:off x="2320587" y="2377440"/>
                <a:ext cx="971550" cy="768350"/>
              </a:xfrm>
              <a:custGeom>
                <a:avLst/>
                <a:gdLst>
                  <a:gd name="connsiteX0" fmla="*/ 3175 w 971550"/>
                  <a:gd name="connsiteY0" fmla="*/ 765810 h 768350"/>
                  <a:gd name="connsiteX1" fmla="*/ 3175 w 971550"/>
                  <a:gd name="connsiteY1" fmla="*/ 563245 h 768350"/>
                  <a:gd name="connsiteX2" fmla="*/ 970280 w 971550"/>
                  <a:gd name="connsiteY2" fmla="*/ 3175 h 768350"/>
                  <a:gd name="connsiteX3" fmla="*/ 970280 w 971550"/>
                  <a:gd name="connsiteY3" fmla="*/ 202565 h 768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1550" h="768350">
                    <a:moveTo>
                      <a:pt x="3175" y="765810"/>
                    </a:moveTo>
                    <a:lnTo>
                      <a:pt x="3175" y="563245"/>
                    </a:lnTo>
                    <a:lnTo>
                      <a:pt x="970280" y="3175"/>
                    </a:lnTo>
                    <a:lnTo>
                      <a:pt x="970280" y="202565"/>
                    </a:lnTo>
                    <a:close/>
                  </a:path>
                </a:pathLst>
              </a:custGeom>
              <a:solidFill>
                <a:srgbClr val="7E9AF2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6" name="任意多边形: 形状 265"/>
              <p:cNvSpPr/>
              <p:nvPr/>
            </p:nvSpPr>
            <p:spPr>
              <a:xfrm flipH="1">
                <a:off x="2318682" y="1615440"/>
                <a:ext cx="1238250" cy="914400"/>
              </a:xfrm>
              <a:custGeom>
                <a:avLst/>
                <a:gdLst>
                  <a:gd name="connsiteX0" fmla="*/ 3175 w 1238250"/>
                  <a:gd name="connsiteY0" fmla="*/ 206375 h 914400"/>
                  <a:gd name="connsiteX1" fmla="*/ 3175 w 1238250"/>
                  <a:gd name="connsiteY1" fmla="*/ 3175 h 914400"/>
                  <a:gd name="connsiteX2" fmla="*/ 1235075 w 1238250"/>
                  <a:gd name="connsiteY2" fmla="*/ 715645 h 914400"/>
                  <a:gd name="connsiteX3" fmla="*/ 1235075 w 1238250"/>
                  <a:gd name="connsiteY3" fmla="*/ 915035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250" h="914400">
                    <a:moveTo>
                      <a:pt x="3175" y="206375"/>
                    </a:moveTo>
                    <a:lnTo>
                      <a:pt x="3175" y="3175"/>
                    </a:lnTo>
                    <a:lnTo>
                      <a:pt x="1235075" y="715645"/>
                    </a:lnTo>
                    <a:lnTo>
                      <a:pt x="1235075" y="915035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7" name="任意多边形: 形状 266"/>
              <p:cNvSpPr/>
              <p:nvPr/>
            </p:nvSpPr>
            <p:spPr>
              <a:xfrm flipH="1">
                <a:off x="3287692" y="2176145"/>
                <a:ext cx="1238250" cy="920750"/>
              </a:xfrm>
              <a:custGeom>
                <a:avLst/>
                <a:gdLst>
                  <a:gd name="connsiteX0" fmla="*/ 3175 w 1238250"/>
                  <a:gd name="connsiteY0" fmla="*/ 205105 h 920750"/>
                  <a:gd name="connsiteX1" fmla="*/ 3175 w 1238250"/>
                  <a:gd name="connsiteY1" fmla="*/ 3175 h 920750"/>
                  <a:gd name="connsiteX2" fmla="*/ 1236980 w 1238250"/>
                  <a:gd name="connsiteY2" fmla="*/ 715010 h 920750"/>
                  <a:gd name="connsiteX3" fmla="*/ 1236980 w 1238250"/>
                  <a:gd name="connsiteY3" fmla="*/ 917575 h 920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8250" h="920750">
                    <a:moveTo>
                      <a:pt x="3175" y="205105"/>
                    </a:moveTo>
                    <a:lnTo>
                      <a:pt x="3175" y="3175"/>
                    </a:lnTo>
                    <a:lnTo>
                      <a:pt x="1236980" y="715010"/>
                    </a:lnTo>
                    <a:lnTo>
                      <a:pt x="1236980" y="91757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8" name="任意多边形: 形状 267"/>
              <p:cNvSpPr/>
              <p:nvPr/>
            </p:nvSpPr>
            <p:spPr>
              <a:xfrm flipH="1">
                <a:off x="2320587" y="2327910"/>
                <a:ext cx="971550" cy="768350"/>
              </a:xfrm>
              <a:custGeom>
                <a:avLst/>
                <a:gdLst>
                  <a:gd name="connsiteX0" fmla="*/ 3175 w 971550"/>
                  <a:gd name="connsiteY0" fmla="*/ 765810 h 768350"/>
                  <a:gd name="connsiteX1" fmla="*/ 3175 w 971550"/>
                  <a:gd name="connsiteY1" fmla="*/ 563245 h 768350"/>
                  <a:gd name="connsiteX2" fmla="*/ 970280 w 971550"/>
                  <a:gd name="connsiteY2" fmla="*/ 3175 h 768350"/>
                  <a:gd name="connsiteX3" fmla="*/ 970280 w 971550"/>
                  <a:gd name="connsiteY3" fmla="*/ 202565 h 768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1550" h="768350">
                    <a:moveTo>
                      <a:pt x="3175" y="765810"/>
                    </a:moveTo>
                    <a:lnTo>
                      <a:pt x="3175" y="563245"/>
                    </a:lnTo>
                    <a:lnTo>
                      <a:pt x="970280" y="3175"/>
                    </a:lnTo>
                    <a:lnTo>
                      <a:pt x="970280" y="20256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9" name="任意多边形: 形状 268"/>
              <p:cNvSpPr/>
              <p:nvPr/>
            </p:nvSpPr>
            <p:spPr>
              <a:xfrm flipH="1">
                <a:off x="3287692" y="2989580"/>
                <a:ext cx="1238250" cy="819150"/>
              </a:xfrm>
              <a:custGeom>
                <a:avLst/>
                <a:gdLst>
                  <a:gd name="connsiteX0" fmla="*/ 3175 w 1238250"/>
                  <a:gd name="connsiteY0" fmla="*/ 3175 h 819150"/>
                  <a:gd name="connsiteX1" fmla="*/ 3175 w 1238250"/>
                  <a:gd name="connsiteY1" fmla="*/ 104140 h 819150"/>
                  <a:gd name="connsiteX2" fmla="*/ 1236980 w 1238250"/>
                  <a:gd name="connsiteY2" fmla="*/ 817245 h 819150"/>
                  <a:gd name="connsiteX3" fmla="*/ 1236980 w 1238250"/>
                  <a:gd name="connsiteY3" fmla="*/ 715645 h 819150"/>
                  <a:gd name="connsiteX4" fmla="*/ 3175 w 1238250"/>
                  <a:gd name="connsiteY4" fmla="*/ 6350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8250" h="819150">
                    <a:moveTo>
                      <a:pt x="3175" y="3175"/>
                    </a:moveTo>
                    <a:lnTo>
                      <a:pt x="3175" y="104140"/>
                    </a:lnTo>
                    <a:lnTo>
                      <a:pt x="1236980" y="817245"/>
                    </a:lnTo>
                    <a:lnTo>
                      <a:pt x="1236980" y="715645"/>
                    </a:lnTo>
                    <a:lnTo>
                      <a:pt x="3175" y="6350"/>
                    </a:lnTo>
                  </a:path>
                </a:pathLst>
              </a:custGeom>
              <a:solidFill>
                <a:srgbClr val="7E9AF2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0" name="任意多边形: 形状 269"/>
              <p:cNvSpPr/>
              <p:nvPr/>
            </p:nvSpPr>
            <p:spPr>
              <a:xfrm flipH="1">
                <a:off x="2320587" y="3145155"/>
                <a:ext cx="971550" cy="660400"/>
              </a:xfrm>
              <a:custGeom>
                <a:avLst/>
                <a:gdLst>
                  <a:gd name="connsiteX0" fmla="*/ 3175 w 971550"/>
                  <a:gd name="connsiteY0" fmla="*/ 661670 h 660400"/>
                  <a:gd name="connsiteX1" fmla="*/ 3175 w 971550"/>
                  <a:gd name="connsiteY1" fmla="*/ 564515 h 660400"/>
                  <a:gd name="connsiteX2" fmla="*/ 9525 w 971550"/>
                  <a:gd name="connsiteY2" fmla="*/ 561340 h 660400"/>
                  <a:gd name="connsiteX3" fmla="*/ 970280 w 971550"/>
                  <a:gd name="connsiteY3" fmla="*/ 3175 h 660400"/>
                  <a:gd name="connsiteX4" fmla="*/ 970280 w 971550"/>
                  <a:gd name="connsiteY4" fmla="*/ 103505 h 66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1550" h="660400">
                    <a:moveTo>
                      <a:pt x="3175" y="661670"/>
                    </a:moveTo>
                    <a:lnTo>
                      <a:pt x="3175" y="564515"/>
                    </a:lnTo>
                    <a:lnTo>
                      <a:pt x="9525" y="561340"/>
                    </a:lnTo>
                    <a:lnTo>
                      <a:pt x="970280" y="3175"/>
                    </a:lnTo>
                    <a:lnTo>
                      <a:pt x="970280" y="103505"/>
                    </a:lnTo>
                    <a:close/>
                  </a:path>
                </a:pathLst>
              </a:custGeom>
              <a:solidFill>
                <a:srgbClr val="7E9AF2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1" name="任意多边形: 形状 270"/>
              <p:cNvSpPr/>
              <p:nvPr/>
            </p:nvSpPr>
            <p:spPr>
              <a:xfrm flipH="1">
                <a:off x="2585382" y="2226945"/>
                <a:ext cx="971550" cy="565150"/>
              </a:xfrm>
              <a:custGeom>
                <a:avLst/>
                <a:gdLst>
                  <a:gd name="connsiteX0" fmla="*/ 532130 w 971550"/>
                  <a:gd name="connsiteY0" fmla="*/ 3175 h 565150"/>
                  <a:gd name="connsiteX1" fmla="*/ 3175 w 971550"/>
                  <a:gd name="connsiteY1" fmla="*/ 308610 h 565150"/>
                  <a:gd name="connsiteX2" fmla="*/ 443864 w 971550"/>
                  <a:gd name="connsiteY2" fmla="*/ 561975 h 565150"/>
                  <a:gd name="connsiteX3" fmla="*/ 971550 w 971550"/>
                  <a:gd name="connsiteY3" fmla="*/ 256540 h 565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1550" h="565150">
                    <a:moveTo>
                      <a:pt x="532130" y="3175"/>
                    </a:moveTo>
                    <a:lnTo>
                      <a:pt x="3175" y="308610"/>
                    </a:lnTo>
                    <a:lnTo>
                      <a:pt x="443864" y="561975"/>
                    </a:lnTo>
                    <a:lnTo>
                      <a:pt x="971550" y="25654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2" name="任意多边形: 形状 271"/>
              <p:cNvSpPr/>
              <p:nvPr/>
            </p:nvSpPr>
            <p:spPr>
              <a:xfrm flipH="1">
                <a:off x="2583477" y="2226945"/>
                <a:ext cx="444500" cy="304800"/>
              </a:xfrm>
              <a:custGeom>
                <a:avLst/>
                <a:gdLst>
                  <a:gd name="connsiteX0" fmla="*/ 3175 w 444500"/>
                  <a:gd name="connsiteY0" fmla="*/ 3175 h 304800"/>
                  <a:gd name="connsiteX1" fmla="*/ 5080 w 444500"/>
                  <a:gd name="connsiteY1" fmla="*/ 104140 h 304800"/>
                  <a:gd name="connsiteX2" fmla="*/ 347345 w 444500"/>
                  <a:gd name="connsiteY2" fmla="*/ 303530 h 304800"/>
                  <a:gd name="connsiteX3" fmla="*/ 442595 w 444500"/>
                  <a:gd name="connsiteY3" fmla="*/ 256540 h 304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0" h="304800">
                    <a:moveTo>
                      <a:pt x="3175" y="3175"/>
                    </a:moveTo>
                    <a:lnTo>
                      <a:pt x="5080" y="104140"/>
                    </a:lnTo>
                    <a:lnTo>
                      <a:pt x="347345" y="303530"/>
                    </a:lnTo>
                    <a:lnTo>
                      <a:pt x="442595" y="256540"/>
                    </a:lnTo>
                    <a:close/>
                  </a:path>
                </a:pathLst>
              </a:custGeom>
              <a:solidFill>
                <a:srgbClr val="E4F0FE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3" name="任意多边形: 形状 272"/>
              <p:cNvSpPr/>
              <p:nvPr/>
            </p:nvSpPr>
            <p:spPr>
              <a:xfrm flipH="1">
                <a:off x="2678092" y="2327910"/>
                <a:ext cx="438150" cy="260350"/>
              </a:xfrm>
              <a:custGeom>
                <a:avLst/>
                <a:gdLst>
                  <a:gd name="connsiteX0" fmla="*/ 93345 w 438150"/>
                  <a:gd name="connsiteY0" fmla="*/ 3175 h 260350"/>
                  <a:gd name="connsiteX1" fmla="*/ 3175 w 438150"/>
                  <a:gd name="connsiteY1" fmla="*/ 52705 h 260350"/>
                  <a:gd name="connsiteX2" fmla="*/ 353061 w 438150"/>
                  <a:gd name="connsiteY2" fmla="*/ 262890 h 260350"/>
                  <a:gd name="connsiteX3" fmla="*/ 435611 w 438150"/>
                  <a:gd name="connsiteY3" fmla="*/ 202565 h 26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50" h="260350">
                    <a:moveTo>
                      <a:pt x="93345" y="3175"/>
                    </a:moveTo>
                    <a:lnTo>
                      <a:pt x="3175" y="52705"/>
                    </a:lnTo>
                    <a:lnTo>
                      <a:pt x="353061" y="262890"/>
                    </a:lnTo>
                    <a:lnTo>
                      <a:pt x="435611" y="202565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4" name="任意多边形: 形状 273"/>
              <p:cNvSpPr/>
              <p:nvPr/>
            </p:nvSpPr>
            <p:spPr>
              <a:xfrm flipH="1">
                <a:off x="2763182" y="2377440"/>
                <a:ext cx="355600" cy="260350"/>
              </a:xfrm>
              <a:custGeom>
                <a:avLst/>
                <a:gdLst>
                  <a:gd name="connsiteX0" fmla="*/ 5714 w 355600"/>
                  <a:gd name="connsiteY0" fmla="*/ 3175 h 260350"/>
                  <a:gd name="connsiteX1" fmla="*/ 3175 w 355600"/>
                  <a:gd name="connsiteY1" fmla="*/ 102235 h 260350"/>
                  <a:gd name="connsiteX2" fmla="*/ 269239 w 355600"/>
                  <a:gd name="connsiteY2" fmla="*/ 259080 h 260350"/>
                  <a:gd name="connsiteX3" fmla="*/ 355600 w 355600"/>
                  <a:gd name="connsiteY3" fmla="*/ 213360 h 26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5600" h="260350">
                    <a:moveTo>
                      <a:pt x="5714" y="3175"/>
                    </a:moveTo>
                    <a:lnTo>
                      <a:pt x="3175" y="102235"/>
                    </a:lnTo>
                    <a:lnTo>
                      <a:pt x="269239" y="259080"/>
                    </a:lnTo>
                    <a:lnTo>
                      <a:pt x="355600" y="213360"/>
                    </a:ln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5" name="任意多边形: 形状 274"/>
              <p:cNvSpPr/>
              <p:nvPr/>
            </p:nvSpPr>
            <p:spPr>
              <a:xfrm flipH="1">
                <a:off x="2848907" y="2476500"/>
                <a:ext cx="355600" cy="209550"/>
              </a:xfrm>
              <a:custGeom>
                <a:avLst/>
                <a:gdLst>
                  <a:gd name="connsiteX0" fmla="*/ 88900 w 355600"/>
                  <a:gd name="connsiteY0" fmla="*/ 3175 h 209550"/>
                  <a:gd name="connsiteX1" fmla="*/ 3175 w 355600"/>
                  <a:gd name="connsiteY1" fmla="*/ 53975 h 209550"/>
                  <a:gd name="connsiteX2" fmla="*/ 265430 w 355600"/>
                  <a:gd name="connsiteY2" fmla="*/ 206375 h 209550"/>
                  <a:gd name="connsiteX3" fmla="*/ 354964 w 355600"/>
                  <a:gd name="connsiteY3" fmla="*/ 16002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5600" h="209550">
                    <a:moveTo>
                      <a:pt x="88900" y="3175"/>
                    </a:moveTo>
                    <a:lnTo>
                      <a:pt x="3175" y="53975"/>
                    </a:lnTo>
                    <a:lnTo>
                      <a:pt x="265430" y="206375"/>
                    </a:lnTo>
                    <a:lnTo>
                      <a:pt x="354964" y="160020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6" name="任意多边形: 形状 275"/>
              <p:cNvSpPr/>
              <p:nvPr/>
            </p:nvSpPr>
            <p:spPr>
              <a:xfrm flipH="1">
                <a:off x="2938442" y="2527300"/>
                <a:ext cx="266700" cy="209550"/>
              </a:xfrm>
              <a:custGeom>
                <a:avLst/>
                <a:gdLst>
                  <a:gd name="connsiteX0" fmla="*/ 3811 w 266700"/>
                  <a:gd name="connsiteY0" fmla="*/ 3175 h 209550"/>
                  <a:gd name="connsiteX1" fmla="*/ 3175 w 266700"/>
                  <a:gd name="connsiteY1" fmla="*/ 109220 h 209550"/>
                  <a:gd name="connsiteX2" fmla="*/ 174625 w 266700"/>
                  <a:gd name="connsiteY2" fmla="*/ 208280 h 209550"/>
                  <a:gd name="connsiteX3" fmla="*/ 266065 w 266700"/>
                  <a:gd name="connsiteY3" fmla="*/ 155575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209550">
                    <a:moveTo>
                      <a:pt x="3811" y="3175"/>
                    </a:moveTo>
                    <a:lnTo>
                      <a:pt x="3175" y="109220"/>
                    </a:lnTo>
                    <a:lnTo>
                      <a:pt x="174625" y="208280"/>
                    </a:lnTo>
                    <a:lnTo>
                      <a:pt x="266065" y="155575"/>
                    </a:ln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7" name="任意多边形: 形状 276"/>
              <p:cNvSpPr/>
              <p:nvPr/>
            </p:nvSpPr>
            <p:spPr>
              <a:xfrm flipH="1">
                <a:off x="3027977" y="2633345"/>
                <a:ext cx="241300" cy="146050"/>
              </a:xfrm>
              <a:custGeom>
                <a:avLst/>
                <a:gdLst>
                  <a:gd name="connsiteX0" fmla="*/ 67310 w 241300"/>
                  <a:gd name="connsiteY0" fmla="*/ 3175 h 146050"/>
                  <a:gd name="connsiteX1" fmla="*/ 3175 w 241300"/>
                  <a:gd name="connsiteY1" fmla="*/ 38100 h 146050"/>
                  <a:gd name="connsiteX2" fmla="*/ 177165 w 241300"/>
                  <a:gd name="connsiteY2" fmla="*/ 143510 h 146050"/>
                  <a:gd name="connsiteX3" fmla="*/ 238760 w 241300"/>
                  <a:gd name="connsiteY3" fmla="*/ 102235 h 1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1300" h="146050">
                    <a:moveTo>
                      <a:pt x="67310" y="3175"/>
                    </a:moveTo>
                    <a:lnTo>
                      <a:pt x="3175" y="38100"/>
                    </a:lnTo>
                    <a:lnTo>
                      <a:pt x="177165" y="143510"/>
                    </a:lnTo>
                    <a:lnTo>
                      <a:pt x="238760" y="102235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8" name="任意多边形: 形状 277"/>
              <p:cNvSpPr/>
              <p:nvPr/>
            </p:nvSpPr>
            <p:spPr>
              <a:xfrm flipH="1">
                <a:off x="3091477" y="2668270"/>
                <a:ext cx="177800" cy="120650"/>
              </a:xfrm>
              <a:custGeom>
                <a:avLst/>
                <a:gdLst>
                  <a:gd name="connsiteX0" fmla="*/ 3175 w 177800"/>
                  <a:gd name="connsiteY0" fmla="*/ 3175 h 120650"/>
                  <a:gd name="connsiteX1" fmla="*/ 3175 w 177800"/>
                  <a:gd name="connsiteY1" fmla="*/ 33020 h 120650"/>
                  <a:gd name="connsiteX2" fmla="*/ 156210 w 177800"/>
                  <a:gd name="connsiteY2" fmla="*/ 120650 h 120650"/>
                  <a:gd name="connsiteX3" fmla="*/ 177165 w 177800"/>
                  <a:gd name="connsiteY3" fmla="*/ 108585 h 12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7800" h="120650">
                    <a:moveTo>
                      <a:pt x="3175" y="3175"/>
                    </a:moveTo>
                    <a:lnTo>
                      <a:pt x="3175" y="33020"/>
                    </a:lnTo>
                    <a:lnTo>
                      <a:pt x="156210" y="120650"/>
                    </a:lnTo>
                    <a:lnTo>
                      <a:pt x="177165" y="108585"/>
                    </a:ln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9" name="任意多边形: 形状 278"/>
              <p:cNvSpPr/>
              <p:nvPr/>
            </p:nvSpPr>
            <p:spPr>
              <a:xfrm flipH="1">
                <a:off x="4732317" y="3330575"/>
                <a:ext cx="6350" cy="88900"/>
              </a:xfrm>
              <a:custGeom>
                <a:avLst/>
                <a:gdLst>
                  <a:gd name="connsiteX0" fmla="*/ 3175 w 6350"/>
                  <a:gd name="connsiteY0" fmla="*/ 3175 h 88900"/>
                  <a:gd name="connsiteX1" fmla="*/ 3175 w 6350"/>
                  <a:gd name="connsiteY1" fmla="*/ 3175 h 88900"/>
                  <a:gd name="connsiteX2" fmla="*/ 3175 w 6350"/>
                  <a:gd name="connsiteY2" fmla="*/ 91440 h 88900"/>
                  <a:gd name="connsiteX3" fmla="*/ 3175 w 6350"/>
                  <a:gd name="connsiteY3" fmla="*/ 91440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50" h="88900">
                    <a:moveTo>
                      <a:pt x="3175" y="3175"/>
                    </a:moveTo>
                    <a:lnTo>
                      <a:pt x="3175" y="3175"/>
                    </a:lnTo>
                    <a:lnTo>
                      <a:pt x="3175" y="91440"/>
                    </a:lnTo>
                    <a:lnTo>
                      <a:pt x="3175" y="91440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5A69E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0" name="任意多边形: 形状 279"/>
              <p:cNvSpPr/>
              <p:nvPr/>
            </p:nvSpPr>
            <p:spPr>
              <a:xfrm flipH="1">
                <a:off x="4413865" y="3058246"/>
                <a:ext cx="95250" cy="120650"/>
              </a:xfrm>
              <a:custGeom>
                <a:avLst/>
                <a:gdLst>
                  <a:gd name="connsiteX0" fmla="*/ 49847 w 95250"/>
                  <a:gd name="connsiteY0" fmla="*/ 10710 h 120650"/>
                  <a:gd name="connsiteX1" fmla="*/ 4763 w 95250"/>
                  <a:gd name="connsiteY1" fmla="*/ 36744 h 120650"/>
                  <a:gd name="connsiteX2" fmla="*/ 49847 w 95250"/>
                  <a:gd name="connsiteY2" fmla="*/ 113579 h 120650"/>
                  <a:gd name="connsiteX3" fmla="*/ 94933 w 95250"/>
                  <a:gd name="connsiteY3" fmla="*/ 87544 h 120650"/>
                  <a:gd name="connsiteX4" fmla="*/ 49847 w 95250"/>
                  <a:gd name="connsiteY4" fmla="*/ 10710 h 12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250" h="120650">
                    <a:moveTo>
                      <a:pt x="49847" y="10710"/>
                    </a:moveTo>
                    <a:cubicBezTo>
                      <a:pt x="25083" y="-3261"/>
                      <a:pt x="4763" y="8169"/>
                      <a:pt x="4763" y="36744"/>
                    </a:cubicBezTo>
                    <a:cubicBezTo>
                      <a:pt x="4763" y="65319"/>
                      <a:pt x="25083" y="99610"/>
                      <a:pt x="49847" y="113579"/>
                    </a:cubicBezTo>
                    <a:cubicBezTo>
                      <a:pt x="74613" y="126914"/>
                      <a:pt x="94933" y="115485"/>
                      <a:pt x="94933" y="87544"/>
                    </a:cubicBezTo>
                    <a:cubicBezTo>
                      <a:pt x="94933" y="59604"/>
                      <a:pt x="74613" y="25314"/>
                      <a:pt x="49847" y="1071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1" name="任意多边形: 形状 280"/>
              <p:cNvSpPr/>
              <p:nvPr/>
            </p:nvSpPr>
            <p:spPr>
              <a:xfrm flipH="1">
                <a:off x="4713267" y="3341370"/>
                <a:ext cx="457200" cy="660400"/>
              </a:xfrm>
              <a:custGeom>
                <a:avLst/>
                <a:gdLst>
                  <a:gd name="connsiteX0" fmla="*/ 3175 w 457200"/>
                  <a:gd name="connsiteY0" fmla="*/ 254000 h 660400"/>
                  <a:gd name="connsiteX1" fmla="*/ 448945 w 457200"/>
                  <a:gd name="connsiteY1" fmla="*/ 3175 h 660400"/>
                  <a:gd name="connsiteX2" fmla="*/ 454025 w 457200"/>
                  <a:gd name="connsiteY2" fmla="*/ 407670 h 660400"/>
                  <a:gd name="connsiteX3" fmla="*/ 10795 w 457200"/>
                  <a:gd name="connsiteY3" fmla="*/ 662940 h 66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200" h="660400">
                    <a:moveTo>
                      <a:pt x="3175" y="254000"/>
                    </a:moveTo>
                    <a:lnTo>
                      <a:pt x="448945" y="3175"/>
                    </a:lnTo>
                    <a:lnTo>
                      <a:pt x="454025" y="407670"/>
                    </a:lnTo>
                    <a:lnTo>
                      <a:pt x="10795" y="662940"/>
                    </a:lnTo>
                    <a:close/>
                  </a:path>
                </a:pathLst>
              </a:custGeom>
              <a:solidFill>
                <a:srgbClr val="EFDCC2"/>
              </a:solidFill>
              <a:ln w="6350" cap="rnd">
                <a:solidFill>
                  <a:srgbClr val="3DA2B3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2" name="任意多边形: 形状 281"/>
              <p:cNvSpPr/>
              <p:nvPr/>
            </p:nvSpPr>
            <p:spPr>
              <a:xfrm flipH="1">
                <a:off x="4696757" y="3347085"/>
                <a:ext cx="450850" cy="660400"/>
              </a:xfrm>
              <a:custGeom>
                <a:avLst/>
                <a:gdLst>
                  <a:gd name="connsiteX0" fmla="*/ 3175 w 450850"/>
                  <a:gd name="connsiteY0" fmla="*/ 254000 h 660400"/>
                  <a:gd name="connsiteX1" fmla="*/ 448945 w 450850"/>
                  <a:gd name="connsiteY1" fmla="*/ 3175 h 660400"/>
                  <a:gd name="connsiteX2" fmla="*/ 453389 w 450850"/>
                  <a:gd name="connsiteY2" fmla="*/ 407035 h 660400"/>
                  <a:gd name="connsiteX3" fmla="*/ 10795 w 450850"/>
                  <a:gd name="connsiteY3" fmla="*/ 662940 h 66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850" h="660400">
                    <a:moveTo>
                      <a:pt x="3175" y="254000"/>
                    </a:moveTo>
                    <a:lnTo>
                      <a:pt x="448945" y="3175"/>
                    </a:lnTo>
                    <a:lnTo>
                      <a:pt x="453389" y="407035"/>
                    </a:lnTo>
                    <a:lnTo>
                      <a:pt x="10795" y="662940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3" name="任意多边形: 形状 282"/>
              <p:cNvSpPr/>
              <p:nvPr/>
            </p:nvSpPr>
            <p:spPr>
              <a:xfrm flipH="1">
                <a:off x="5083652" y="3626298"/>
                <a:ext cx="25400" cy="38100"/>
              </a:xfrm>
              <a:custGeom>
                <a:avLst/>
                <a:gdLst>
                  <a:gd name="connsiteX0" fmla="*/ 15557 w 25400"/>
                  <a:gd name="connsiteY0" fmla="*/ 6393 h 38100"/>
                  <a:gd name="connsiteX1" fmla="*/ 4763 w 25400"/>
                  <a:gd name="connsiteY1" fmla="*/ 25443 h 38100"/>
                  <a:gd name="connsiteX2" fmla="*/ 15557 w 25400"/>
                  <a:gd name="connsiteY2" fmla="*/ 31793 h 38100"/>
                  <a:gd name="connsiteX3" fmla="*/ 26353 w 25400"/>
                  <a:gd name="connsiteY3" fmla="*/ 12743 h 38100"/>
                  <a:gd name="connsiteX4" fmla="*/ 15557 w 25400"/>
                  <a:gd name="connsiteY4" fmla="*/ 63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38100">
                    <a:moveTo>
                      <a:pt x="15557" y="6393"/>
                    </a:moveTo>
                    <a:cubicBezTo>
                      <a:pt x="9207" y="10202"/>
                      <a:pt x="4763" y="18457"/>
                      <a:pt x="4763" y="25443"/>
                    </a:cubicBezTo>
                    <a:cubicBezTo>
                      <a:pt x="4763" y="32427"/>
                      <a:pt x="9843" y="35602"/>
                      <a:pt x="15557" y="31793"/>
                    </a:cubicBezTo>
                    <a:cubicBezTo>
                      <a:pt x="21907" y="27982"/>
                      <a:pt x="26353" y="19727"/>
                      <a:pt x="26353" y="12743"/>
                    </a:cubicBezTo>
                    <a:cubicBezTo>
                      <a:pt x="26353" y="5757"/>
                      <a:pt x="21272" y="2582"/>
                      <a:pt x="15557" y="6393"/>
                    </a:cubicBezTo>
                    <a:close/>
                  </a:path>
                </a:pathLst>
              </a:custGeom>
              <a:solidFill>
                <a:srgbClr val="3F55C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4" name="任意多边形: 形状 283"/>
              <p:cNvSpPr/>
              <p:nvPr/>
            </p:nvSpPr>
            <p:spPr>
              <a:xfrm flipH="1">
                <a:off x="5076179" y="3621724"/>
                <a:ext cx="45719" cy="45719"/>
              </a:xfrm>
              <a:custGeom>
                <a:avLst/>
                <a:gdLst>
                  <a:gd name="connsiteX0" fmla="*/ 15557 w 25400"/>
                  <a:gd name="connsiteY0" fmla="*/ 6393 h 38100"/>
                  <a:gd name="connsiteX1" fmla="*/ 4763 w 25400"/>
                  <a:gd name="connsiteY1" fmla="*/ 25443 h 38100"/>
                  <a:gd name="connsiteX2" fmla="*/ 15557 w 25400"/>
                  <a:gd name="connsiteY2" fmla="*/ 31793 h 38100"/>
                  <a:gd name="connsiteX3" fmla="*/ 26353 w 25400"/>
                  <a:gd name="connsiteY3" fmla="*/ 12743 h 38100"/>
                  <a:gd name="connsiteX4" fmla="*/ 15557 w 25400"/>
                  <a:gd name="connsiteY4" fmla="*/ 63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38100">
                    <a:moveTo>
                      <a:pt x="15557" y="6393"/>
                    </a:moveTo>
                    <a:cubicBezTo>
                      <a:pt x="9207" y="10202"/>
                      <a:pt x="4763" y="18457"/>
                      <a:pt x="4763" y="25443"/>
                    </a:cubicBezTo>
                    <a:cubicBezTo>
                      <a:pt x="4763" y="32427"/>
                      <a:pt x="9843" y="35602"/>
                      <a:pt x="15557" y="31793"/>
                    </a:cubicBezTo>
                    <a:cubicBezTo>
                      <a:pt x="21907" y="27982"/>
                      <a:pt x="26353" y="19727"/>
                      <a:pt x="26353" y="12743"/>
                    </a:cubicBezTo>
                    <a:cubicBezTo>
                      <a:pt x="26353" y="5757"/>
                      <a:pt x="21272" y="2582"/>
                      <a:pt x="15557" y="6393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3F55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5" name="任意多边形: 形状 284"/>
              <p:cNvSpPr/>
              <p:nvPr/>
            </p:nvSpPr>
            <p:spPr>
              <a:xfrm flipH="1">
                <a:off x="5004573" y="3546288"/>
                <a:ext cx="190183" cy="88900"/>
              </a:xfrm>
              <a:custGeom>
                <a:avLst/>
                <a:gdLst>
                  <a:gd name="connsiteX0" fmla="*/ 3175 w 6350"/>
                  <a:gd name="connsiteY0" fmla="*/ 3175 h 88900"/>
                  <a:gd name="connsiteX1" fmla="*/ 3175 w 6350"/>
                  <a:gd name="connsiteY1" fmla="*/ 3175 h 88900"/>
                  <a:gd name="connsiteX2" fmla="*/ 3175 w 6350"/>
                  <a:gd name="connsiteY2" fmla="*/ 91440 h 88900"/>
                  <a:gd name="connsiteX3" fmla="*/ 3175 w 6350"/>
                  <a:gd name="connsiteY3" fmla="*/ 91440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50" h="88900">
                    <a:moveTo>
                      <a:pt x="3175" y="3175"/>
                    </a:moveTo>
                    <a:lnTo>
                      <a:pt x="3175" y="3175"/>
                    </a:lnTo>
                    <a:lnTo>
                      <a:pt x="3175" y="91440"/>
                    </a:lnTo>
                    <a:lnTo>
                      <a:pt x="3175" y="91440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4304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7" name="任意多边形: 形状 286"/>
              <p:cNvSpPr/>
              <p:nvPr/>
            </p:nvSpPr>
            <p:spPr>
              <a:xfrm flipH="1">
                <a:off x="4700567" y="3341370"/>
                <a:ext cx="469900" cy="666750"/>
              </a:xfrm>
              <a:custGeom>
                <a:avLst/>
                <a:gdLst>
                  <a:gd name="connsiteX0" fmla="*/ 471805 w 469900"/>
                  <a:gd name="connsiteY0" fmla="*/ 8890 h 666750"/>
                  <a:gd name="connsiteX1" fmla="*/ 448945 w 469900"/>
                  <a:gd name="connsiteY1" fmla="*/ 3175 h 666750"/>
                  <a:gd name="connsiteX2" fmla="*/ 3175 w 469900"/>
                  <a:gd name="connsiteY2" fmla="*/ 254000 h 666750"/>
                  <a:gd name="connsiteX3" fmla="*/ 10795 w 469900"/>
                  <a:gd name="connsiteY3" fmla="*/ 662940 h 666750"/>
                  <a:gd name="connsiteX4" fmla="*/ 33655 w 469900"/>
                  <a:gd name="connsiteY4" fmla="*/ 668655 h 666750"/>
                  <a:gd name="connsiteX5" fmla="*/ 24765 w 469900"/>
                  <a:gd name="connsiteY5" fmla="*/ 261620 h 666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9900" h="666750">
                    <a:moveTo>
                      <a:pt x="471805" y="8890"/>
                    </a:moveTo>
                    <a:lnTo>
                      <a:pt x="448945" y="3175"/>
                    </a:lnTo>
                    <a:lnTo>
                      <a:pt x="3175" y="254000"/>
                    </a:lnTo>
                    <a:lnTo>
                      <a:pt x="10795" y="662940"/>
                    </a:lnTo>
                    <a:lnTo>
                      <a:pt x="33655" y="668655"/>
                    </a:lnTo>
                    <a:lnTo>
                      <a:pt x="24765" y="261620"/>
                    </a:lnTo>
                    <a:close/>
                  </a:path>
                </a:pathLst>
              </a:custGeom>
              <a:solidFill>
                <a:schemeClr val="accent5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8" name="任意多边形: 形状 287"/>
              <p:cNvSpPr/>
              <p:nvPr/>
            </p:nvSpPr>
            <p:spPr>
              <a:xfrm flipH="1">
                <a:off x="5091093" y="3549968"/>
                <a:ext cx="6350" cy="88900"/>
              </a:xfrm>
              <a:custGeom>
                <a:avLst/>
                <a:gdLst>
                  <a:gd name="connsiteX0" fmla="*/ 3175 w 6350"/>
                  <a:gd name="connsiteY0" fmla="*/ 3175 h 88900"/>
                  <a:gd name="connsiteX1" fmla="*/ 3175 w 6350"/>
                  <a:gd name="connsiteY1" fmla="*/ 3175 h 88900"/>
                  <a:gd name="connsiteX2" fmla="*/ 3175 w 6350"/>
                  <a:gd name="connsiteY2" fmla="*/ 91440 h 88900"/>
                  <a:gd name="connsiteX3" fmla="*/ 3175 w 6350"/>
                  <a:gd name="connsiteY3" fmla="*/ 91440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50" h="88900">
                    <a:moveTo>
                      <a:pt x="3175" y="3175"/>
                    </a:moveTo>
                    <a:lnTo>
                      <a:pt x="3175" y="3175"/>
                    </a:lnTo>
                    <a:lnTo>
                      <a:pt x="3175" y="91440"/>
                    </a:lnTo>
                    <a:lnTo>
                      <a:pt x="3175" y="91440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5A69E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9" name="任意多边形: 形状 288"/>
              <p:cNvSpPr/>
              <p:nvPr/>
            </p:nvSpPr>
            <p:spPr>
              <a:xfrm flipH="1">
                <a:off x="4725649" y="3411813"/>
                <a:ext cx="25400" cy="38100"/>
              </a:xfrm>
              <a:custGeom>
                <a:avLst/>
                <a:gdLst>
                  <a:gd name="connsiteX0" fmla="*/ 15557 w 25400"/>
                  <a:gd name="connsiteY0" fmla="*/ 6393 h 38100"/>
                  <a:gd name="connsiteX1" fmla="*/ 4763 w 25400"/>
                  <a:gd name="connsiteY1" fmla="*/ 25443 h 38100"/>
                  <a:gd name="connsiteX2" fmla="*/ 15557 w 25400"/>
                  <a:gd name="connsiteY2" fmla="*/ 31793 h 38100"/>
                  <a:gd name="connsiteX3" fmla="*/ 26353 w 25400"/>
                  <a:gd name="connsiteY3" fmla="*/ 12743 h 38100"/>
                  <a:gd name="connsiteX4" fmla="*/ 15557 w 25400"/>
                  <a:gd name="connsiteY4" fmla="*/ 63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38100">
                    <a:moveTo>
                      <a:pt x="15557" y="6393"/>
                    </a:moveTo>
                    <a:cubicBezTo>
                      <a:pt x="9207" y="10202"/>
                      <a:pt x="4763" y="18457"/>
                      <a:pt x="4763" y="25443"/>
                    </a:cubicBezTo>
                    <a:cubicBezTo>
                      <a:pt x="4763" y="32427"/>
                      <a:pt x="9843" y="35602"/>
                      <a:pt x="15557" y="31793"/>
                    </a:cubicBezTo>
                    <a:cubicBezTo>
                      <a:pt x="21272" y="27982"/>
                      <a:pt x="26353" y="19727"/>
                      <a:pt x="26353" y="12743"/>
                    </a:cubicBezTo>
                    <a:cubicBezTo>
                      <a:pt x="26353" y="5757"/>
                      <a:pt x="21272" y="2582"/>
                      <a:pt x="15557" y="6393"/>
                    </a:cubicBezTo>
                    <a:close/>
                  </a:path>
                </a:pathLst>
              </a:custGeom>
              <a:solidFill>
                <a:srgbClr val="3F55C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0" name="任意多边形: 形状 289"/>
              <p:cNvSpPr/>
              <p:nvPr/>
            </p:nvSpPr>
            <p:spPr>
              <a:xfrm flipH="1">
                <a:off x="4725649" y="3411813"/>
                <a:ext cx="25400" cy="38100"/>
              </a:xfrm>
              <a:custGeom>
                <a:avLst/>
                <a:gdLst>
                  <a:gd name="connsiteX0" fmla="*/ 15557 w 25400"/>
                  <a:gd name="connsiteY0" fmla="*/ 6393 h 38100"/>
                  <a:gd name="connsiteX1" fmla="*/ 4763 w 25400"/>
                  <a:gd name="connsiteY1" fmla="*/ 25443 h 38100"/>
                  <a:gd name="connsiteX2" fmla="*/ 15557 w 25400"/>
                  <a:gd name="connsiteY2" fmla="*/ 31793 h 38100"/>
                  <a:gd name="connsiteX3" fmla="*/ 26353 w 25400"/>
                  <a:gd name="connsiteY3" fmla="*/ 12743 h 38100"/>
                  <a:gd name="connsiteX4" fmla="*/ 15557 w 25400"/>
                  <a:gd name="connsiteY4" fmla="*/ 63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38100">
                    <a:moveTo>
                      <a:pt x="15557" y="6393"/>
                    </a:moveTo>
                    <a:cubicBezTo>
                      <a:pt x="9207" y="10202"/>
                      <a:pt x="4763" y="18457"/>
                      <a:pt x="4763" y="25443"/>
                    </a:cubicBezTo>
                    <a:cubicBezTo>
                      <a:pt x="4763" y="32427"/>
                      <a:pt x="9843" y="35602"/>
                      <a:pt x="15557" y="31793"/>
                    </a:cubicBezTo>
                    <a:cubicBezTo>
                      <a:pt x="21272" y="27982"/>
                      <a:pt x="26353" y="19727"/>
                      <a:pt x="26353" y="12743"/>
                    </a:cubicBezTo>
                    <a:cubicBezTo>
                      <a:pt x="26353" y="5757"/>
                      <a:pt x="21272" y="2582"/>
                      <a:pt x="15557" y="6393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3F55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1" name="任意多边形: 形状 290"/>
              <p:cNvSpPr/>
              <p:nvPr/>
            </p:nvSpPr>
            <p:spPr>
              <a:xfrm flipH="1">
                <a:off x="4732317" y="3333750"/>
                <a:ext cx="6350" cy="88900"/>
              </a:xfrm>
              <a:custGeom>
                <a:avLst/>
                <a:gdLst>
                  <a:gd name="connsiteX0" fmla="*/ 3175 w 6350"/>
                  <a:gd name="connsiteY0" fmla="*/ 3175 h 88900"/>
                  <a:gd name="connsiteX1" fmla="*/ 3175 w 6350"/>
                  <a:gd name="connsiteY1" fmla="*/ 3175 h 88900"/>
                  <a:gd name="connsiteX2" fmla="*/ 3175 w 6350"/>
                  <a:gd name="connsiteY2" fmla="*/ 91440 h 88900"/>
                  <a:gd name="connsiteX3" fmla="*/ 3175 w 6350"/>
                  <a:gd name="connsiteY3" fmla="*/ 91440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50" h="88900">
                    <a:moveTo>
                      <a:pt x="3175" y="3175"/>
                    </a:moveTo>
                    <a:lnTo>
                      <a:pt x="3175" y="3175"/>
                    </a:lnTo>
                    <a:lnTo>
                      <a:pt x="3175" y="91440"/>
                    </a:lnTo>
                    <a:lnTo>
                      <a:pt x="3175" y="91440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5A69E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2" name="任意多边形: 形状 291"/>
              <p:cNvSpPr/>
              <p:nvPr/>
            </p:nvSpPr>
            <p:spPr>
              <a:xfrm flipH="1">
                <a:off x="4432597" y="3077845"/>
                <a:ext cx="908050" cy="565150"/>
              </a:xfrm>
              <a:custGeom>
                <a:avLst/>
                <a:gdLst>
                  <a:gd name="connsiteX0" fmla="*/ 868045 w 908050"/>
                  <a:gd name="connsiteY0" fmla="*/ 31750 h 565150"/>
                  <a:gd name="connsiteX1" fmla="*/ 842010 w 908050"/>
                  <a:gd name="connsiteY1" fmla="*/ 3175 h 565150"/>
                  <a:gd name="connsiteX2" fmla="*/ 3175 w 908050"/>
                  <a:gd name="connsiteY2" fmla="*/ 448310 h 565150"/>
                  <a:gd name="connsiteX3" fmla="*/ 47625 w 908050"/>
                  <a:gd name="connsiteY3" fmla="*/ 563245 h 565150"/>
                  <a:gd name="connsiteX4" fmla="*/ 908685 w 908050"/>
                  <a:gd name="connsiteY4" fmla="*/ 90805 h 565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8050" h="565150">
                    <a:moveTo>
                      <a:pt x="868045" y="31750"/>
                    </a:moveTo>
                    <a:lnTo>
                      <a:pt x="842010" y="3175"/>
                    </a:lnTo>
                    <a:lnTo>
                      <a:pt x="3175" y="448310"/>
                    </a:lnTo>
                    <a:lnTo>
                      <a:pt x="47625" y="563245"/>
                    </a:lnTo>
                    <a:lnTo>
                      <a:pt x="908685" y="90805"/>
                    </a:ln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dirty="0"/>
              </a:p>
            </p:txBody>
          </p:sp>
          <p:sp>
            <p:nvSpPr>
              <p:cNvPr id="293" name="任意多边形: 形状 292"/>
              <p:cNvSpPr/>
              <p:nvPr/>
            </p:nvSpPr>
            <p:spPr>
              <a:xfrm flipH="1">
                <a:off x="5264129" y="3521631"/>
                <a:ext cx="95250" cy="120650"/>
              </a:xfrm>
              <a:custGeom>
                <a:avLst/>
                <a:gdLst>
                  <a:gd name="connsiteX0" fmla="*/ 49848 w 95250"/>
                  <a:gd name="connsiteY0" fmla="*/ 10710 h 120650"/>
                  <a:gd name="connsiteX1" fmla="*/ 4763 w 95250"/>
                  <a:gd name="connsiteY1" fmla="*/ 36744 h 120650"/>
                  <a:gd name="connsiteX2" fmla="*/ 49848 w 95250"/>
                  <a:gd name="connsiteY2" fmla="*/ 113579 h 120650"/>
                  <a:gd name="connsiteX3" fmla="*/ 94933 w 95250"/>
                  <a:gd name="connsiteY3" fmla="*/ 87544 h 120650"/>
                  <a:gd name="connsiteX4" fmla="*/ 49848 w 95250"/>
                  <a:gd name="connsiteY4" fmla="*/ 10710 h 12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250" h="120650">
                    <a:moveTo>
                      <a:pt x="49848" y="10710"/>
                    </a:moveTo>
                    <a:cubicBezTo>
                      <a:pt x="25083" y="-3261"/>
                      <a:pt x="4763" y="8169"/>
                      <a:pt x="4763" y="36744"/>
                    </a:cubicBezTo>
                    <a:cubicBezTo>
                      <a:pt x="4763" y="65319"/>
                      <a:pt x="25083" y="99610"/>
                      <a:pt x="49848" y="113579"/>
                    </a:cubicBezTo>
                    <a:cubicBezTo>
                      <a:pt x="74613" y="126914"/>
                      <a:pt x="94933" y="115485"/>
                      <a:pt x="94933" y="87544"/>
                    </a:cubicBezTo>
                    <a:cubicBezTo>
                      <a:pt x="94933" y="59604"/>
                      <a:pt x="74613" y="25314"/>
                      <a:pt x="49848" y="10710"/>
                    </a:cubicBezTo>
                    <a:close/>
                  </a:path>
                </a:pathLst>
              </a:custGeom>
              <a:solidFill>
                <a:srgbClr val="3F55C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4" name="任意多边形: 形状 293"/>
              <p:cNvSpPr/>
              <p:nvPr/>
            </p:nvSpPr>
            <p:spPr>
              <a:xfrm flipH="1">
                <a:off x="5080297" y="3425060"/>
                <a:ext cx="88900" cy="114300"/>
              </a:xfrm>
              <a:custGeom>
                <a:avLst/>
                <a:gdLst>
                  <a:gd name="connsiteX0" fmla="*/ 41275 w 88900"/>
                  <a:gd name="connsiteY0" fmla="*/ 9179 h 114300"/>
                  <a:gd name="connsiteX1" fmla="*/ 3175 w 88900"/>
                  <a:gd name="connsiteY1" fmla="*/ 11084 h 114300"/>
                  <a:gd name="connsiteX2" fmla="*/ 33655 w 88900"/>
                  <a:gd name="connsiteY2" fmla="*/ 14894 h 114300"/>
                  <a:gd name="connsiteX3" fmla="*/ 78740 w 88900"/>
                  <a:gd name="connsiteY3" fmla="*/ 91729 h 114300"/>
                  <a:gd name="connsiteX4" fmla="*/ 66675 w 88900"/>
                  <a:gd name="connsiteY4" fmla="*/ 115224 h 114300"/>
                  <a:gd name="connsiteX5" fmla="*/ 86995 w 88900"/>
                  <a:gd name="connsiteY5" fmla="*/ 86014 h 114300"/>
                  <a:gd name="connsiteX6" fmla="*/ 41275 w 88900"/>
                  <a:gd name="connsiteY6" fmla="*/ 9179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900" h="114300">
                    <a:moveTo>
                      <a:pt x="41275" y="9179"/>
                    </a:moveTo>
                    <a:cubicBezTo>
                      <a:pt x="25400" y="289"/>
                      <a:pt x="11430" y="1559"/>
                      <a:pt x="3175" y="11084"/>
                    </a:cubicBezTo>
                    <a:cubicBezTo>
                      <a:pt x="11430" y="7274"/>
                      <a:pt x="21590" y="8544"/>
                      <a:pt x="33655" y="14894"/>
                    </a:cubicBezTo>
                    <a:cubicBezTo>
                      <a:pt x="58420" y="28864"/>
                      <a:pt x="78740" y="63789"/>
                      <a:pt x="78740" y="91729"/>
                    </a:cubicBezTo>
                    <a:cubicBezTo>
                      <a:pt x="78740" y="101889"/>
                      <a:pt x="71120" y="109509"/>
                      <a:pt x="66675" y="115224"/>
                    </a:cubicBezTo>
                    <a:cubicBezTo>
                      <a:pt x="75565" y="110779"/>
                      <a:pt x="86995" y="100619"/>
                      <a:pt x="86995" y="86014"/>
                    </a:cubicBezTo>
                    <a:cubicBezTo>
                      <a:pt x="86995" y="58074"/>
                      <a:pt x="66675" y="23784"/>
                      <a:pt x="41275" y="9179"/>
                    </a:cubicBezTo>
                    <a:close/>
                  </a:path>
                </a:pathLst>
              </a:custGeom>
              <a:solidFill>
                <a:srgbClr val="3F55CE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5" name="任意多边形: 形状 294"/>
              <p:cNvSpPr/>
              <p:nvPr/>
            </p:nvSpPr>
            <p:spPr>
              <a:xfrm flipH="1">
                <a:off x="4980623" y="3625529"/>
                <a:ext cx="139700" cy="241300"/>
              </a:xfrm>
              <a:custGeom>
                <a:avLst/>
                <a:gdLst>
                  <a:gd name="connsiteX0" fmla="*/ 26056 w 139700"/>
                  <a:gd name="connsiteY0" fmla="*/ 192091 h 241300"/>
                  <a:gd name="connsiteX1" fmla="*/ 57171 w 139700"/>
                  <a:gd name="connsiteY1" fmla="*/ 220666 h 241300"/>
                  <a:gd name="connsiteX2" fmla="*/ 124481 w 139700"/>
                  <a:gd name="connsiteY2" fmla="*/ 131766 h 241300"/>
                  <a:gd name="connsiteX3" fmla="*/ 127021 w 139700"/>
                  <a:gd name="connsiteY3" fmla="*/ 132401 h 241300"/>
                  <a:gd name="connsiteX4" fmla="*/ 50186 w 139700"/>
                  <a:gd name="connsiteY4" fmla="*/ 232731 h 241300"/>
                  <a:gd name="connsiteX5" fmla="*/ 5101 w 139700"/>
                  <a:gd name="connsiteY5" fmla="*/ 199076 h 241300"/>
                  <a:gd name="connsiteX6" fmla="*/ 118766 w 139700"/>
                  <a:gd name="connsiteY6" fmla="*/ 7306 h 241300"/>
                  <a:gd name="connsiteX7" fmla="*/ 136546 w 139700"/>
                  <a:gd name="connsiteY7" fmla="*/ 18736 h 241300"/>
                  <a:gd name="connsiteX8" fmla="*/ 106701 w 139700"/>
                  <a:gd name="connsiteY8" fmla="*/ 81601 h 241300"/>
                  <a:gd name="connsiteX9" fmla="*/ 100351 w 139700"/>
                  <a:gd name="connsiteY9" fmla="*/ 79696 h 241300"/>
                  <a:gd name="connsiteX10" fmla="*/ 128291 w 139700"/>
                  <a:gd name="connsiteY10" fmla="*/ 20006 h 241300"/>
                  <a:gd name="connsiteX11" fmla="*/ 118766 w 139700"/>
                  <a:gd name="connsiteY11" fmla="*/ 13656 h 241300"/>
                  <a:gd name="connsiteX12" fmla="*/ 26056 w 139700"/>
                  <a:gd name="connsiteY12" fmla="*/ 192091 h 24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9700" h="241300">
                    <a:moveTo>
                      <a:pt x="26056" y="192091"/>
                    </a:moveTo>
                    <a:cubicBezTo>
                      <a:pt x="23516" y="218126"/>
                      <a:pt x="31771" y="235906"/>
                      <a:pt x="57171" y="220666"/>
                    </a:cubicBezTo>
                    <a:cubicBezTo>
                      <a:pt x="82571" y="205426"/>
                      <a:pt x="110511" y="165421"/>
                      <a:pt x="124481" y="131766"/>
                    </a:cubicBezTo>
                    <a:lnTo>
                      <a:pt x="127021" y="132401"/>
                    </a:lnTo>
                    <a:cubicBezTo>
                      <a:pt x="109241" y="171771"/>
                      <a:pt x="82571" y="213046"/>
                      <a:pt x="50186" y="232731"/>
                    </a:cubicBezTo>
                    <a:cubicBezTo>
                      <a:pt x="13991" y="254956"/>
                      <a:pt x="2561" y="231461"/>
                      <a:pt x="5101" y="199076"/>
                    </a:cubicBezTo>
                    <a:cubicBezTo>
                      <a:pt x="11451" y="129226"/>
                      <a:pt x="74951" y="25721"/>
                      <a:pt x="118766" y="7306"/>
                    </a:cubicBezTo>
                    <a:cubicBezTo>
                      <a:pt x="130831" y="2226"/>
                      <a:pt x="137816" y="4131"/>
                      <a:pt x="136546" y="18736"/>
                    </a:cubicBezTo>
                    <a:cubicBezTo>
                      <a:pt x="134641" y="37151"/>
                      <a:pt x="118766" y="75886"/>
                      <a:pt x="106701" y="81601"/>
                    </a:cubicBezTo>
                    <a:cubicBezTo>
                      <a:pt x="104161" y="82871"/>
                      <a:pt x="101621" y="82871"/>
                      <a:pt x="100351" y="79696"/>
                    </a:cubicBezTo>
                    <a:cubicBezTo>
                      <a:pt x="110511" y="63821"/>
                      <a:pt x="127021" y="33341"/>
                      <a:pt x="128291" y="20006"/>
                    </a:cubicBezTo>
                    <a:cubicBezTo>
                      <a:pt x="128926" y="13656"/>
                      <a:pt x="125751" y="10481"/>
                      <a:pt x="118766" y="13656"/>
                    </a:cubicBezTo>
                    <a:cubicBezTo>
                      <a:pt x="86381" y="28896"/>
                      <a:pt x="31771" y="133671"/>
                      <a:pt x="26056" y="19209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6" name="任意多边形: 形状 295"/>
              <p:cNvSpPr/>
              <p:nvPr/>
            </p:nvSpPr>
            <p:spPr>
              <a:xfrm flipH="1">
                <a:off x="4915054" y="3684241"/>
                <a:ext cx="95250" cy="120650"/>
              </a:xfrm>
              <a:custGeom>
                <a:avLst/>
                <a:gdLst>
                  <a:gd name="connsiteX0" fmla="*/ 96377 w 95250"/>
                  <a:gd name="connsiteY0" fmla="*/ 29874 h 120650"/>
                  <a:gd name="connsiteX1" fmla="*/ 76058 w 95250"/>
                  <a:gd name="connsiteY1" fmla="*/ 59084 h 120650"/>
                  <a:gd name="connsiteX2" fmla="*/ 59548 w 95250"/>
                  <a:gd name="connsiteY2" fmla="*/ 54004 h 120650"/>
                  <a:gd name="connsiteX3" fmla="*/ 20177 w 95250"/>
                  <a:gd name="connsiteY3" fmla="*/ 113059 h 120650"/>
                  <a:gd name="connsiteX4" fmla="*/ 4937 w 95250"/>
                  <a:gd name="connsiteY4" fmla="*/ 102899 h 120650"/>
                  <a:gd name="connsiteX5" fmla="*/ 61452 w 95250"/>
                  <a:gd name="connsiteY5" fmla="*/ 6379 h 120650"/>
                  <a:gd name="connsiteX6" fmla="*/ 69073 w 95250"/>
                  <a:gd name="connsiteY6" fmla="*/ 7015 h 120650"/>
                  <a:gd name="connsiteX7" fmla="*/ 70342 w 95250"/>
                  <a:gd name="connsiteY7" fmla="*/ 6379 h 120650"/>
                  <a:gd name="connsiteX8" fmla="*/ 76058 w 95250"/>
                  <a:gd name="connsiteY8" fmla="*/ 11459 h 120650"/>
                  <a:gd name="connsiteX9" fmla="*/ 65898 w 95250"/>
                  <a:gd name="connsiteY9" fmla="*/ 43844 h 120650"/>
                  <a:gd name="connsiteX10" fmla="*/ 77327 w 95250"/>
                  <a:gd name="connsiteY10" fmla="*/ 54640 h 120650"/>
                  <a:gd name="connsiteX11" fmla="*/ 93837 w 95250"/>
                  <a:gd name="connsiteY11" fmla="*/ 29874 h 120650"/>
                  <a:gd name="connsiteX12" fmla="*/ 96377 w 95250"/>
                  <a:gd name="connsiteY12" fmla="*/ 29874 h 120650"/>
                  <a:gd name="connsiteX13" fmla="*/ 58277 w 95250"/>
                  <a:gd name="connsiteY13" fmla="*/ 48290 h 120650"/>
                  <a:gd name="connsiteX14" fmla="*/ 58277 w 95250"/>
                  <a:gd name="connsiteY14" fmla="*/ 36224 h 120650"/>
                  <a:gd name="connsiteX15" fmla="*/ 63992 w 95250"/>
                  <a:gd name="connsiteY15" fmla="*/ 13365 h 120650"/>
                  <a:gd name="connsiteX16" fmla="*/ 18908 w 95250"/>
                  <a:gd name="connsiteY16" fmla="*/ 93374 h 120650"/>
                  <a:gd name="connsiteX17" fmla="*/ 25892 w 95250"/>
                  <a:gd name="connsiteY17" fmla="*/ 100359 h 120650"/>
                  <a:gd name="connsiteX18" fmla="*/ 58277 w 95250"/>
                  <a:gd name="connsiteY18" fmla="*/ 48290 h 12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95250" h="120650">
                    <a:moveTo>
                      <a:pt x="96377" y="29874"/>
                    </a:moveTo>
                    <a:cubicBezTo>
                      <a:pt x="90027" y="47654"/>
                      <a:pt x="82408" y="55909"/>
                      <a:pt x="76058" y="59084"/>
                    </a:cubicBezTo>
                    <a:cubicBezTo>
                      <a:pt x="69073" y="62894"/>
                      <a:pt x="62087" y="61624"/>
                      <a:pt x="59548" y="54004"/>
                    </a:cubicBezTo>
                    <a:cubicBezTo>
                      <a:pt x="49387" y="81309"/>
                      <a:pt x="34783" y="104169"/>
                      <a:pt x="20177" y="113059"/>
                    </a:cubicBezTo>
                    <a:cubicBezTo>
                      <a:pt x="9383" y="119409"/>
                      <a:pt x="3667" y="114965"/>
                      <a:pt x="4937" y="102899"/>
                    </a:cubicBezTo>
                    <a:cubicBezTo>
                      <a:pt x="7477" y="77499"/>
                      <a:pt x="37323" y="18444"/>
                      <a:pt x="61452" y="6379"/>
                    </a:cubicBezTo>
                    <a:cubicBezTo>
                      <a:pt x="66533" y="3840"/>
                      <a:pt x="68437" y="4474"/>
                      <a:pt x="69073" y="7015"/>
                    </a:cubicBezTo>
                    <a:cubicBezTo>
                      <a:pt x="69708" y="6379"/>
                      <a:pt x="69708" y="6379"/>
                      <a:pt x="70342" y="6379"/>
                    </a:cubicBezTo>
                    <a:cubicBezTo>
                      <a:pt x="75423" y="3840"/>
                      <a:pt x="76058" y="8919"/>
                      <a:pt x="76058" y="11459"/>
                    </a:cubicBezTo>
                    <a:cubicBezTo>
                      <a:pt x="75423" y="17174"/>
                      <a:pt x="67167" y="31779"/>
                      <a:pt x="65898" y="43844"/>
                    </a:cubicBezTo>
                    <a:cubicBezTo>
                      <a:pt x="64627" y="55274"/>
                      <a:pt x="70977" y="58449"/>
                      <a:pt x="77327" y="54640"/>
                    </a:cubicBezTo>
                    <a:cubicBezTo>
                      <a:pt x="82408" y="51465"/>
                      <a:pt x="87487" y="44479"/>
                      <a:pt x="93837" y="29874"/>
                    </a:cubicBezTo>
                    <a:lnTo>
                      <a:pt x="96377" y="29874"/>
                    </a:lnTo>
                    <a:close/>
                    <a:moveTo>
                      <a:pt x="58277" y="48290"/>
                    </a:moveTo>
                    <a:cubicBezTo>
                      <a:pt x="57642" y="45115"/>
                      <a:pt x="57642" y="41304"/>
                      <a:pt x="58277" y="36224"/>
                    </a:cubicBezTo>
                    <a:cubicBezTo>
                      <a:pt x="59548" y="26065"/>
                      <a:pt x="61452" y="18444"/>
                      <a:pt x="63992" y="13365"/>
                    </a:cubicBezTo>
                    <a:cubicBezTo>
                      <a:pt x="41133" y="25429"/>
                      <a:pt x="20812" y="74959"/>
                      <a:pt x="18908" y="93374"/>
                    </a:cubicBezTo>
                    <a:cubicBezTo>
                      <a:pt x="18273" y="100359"/>
                      <a:pt x="20812" y="103534"/>
                      <a:pt x="25892" y="100359"/>
                    </a:cubicBezTo>
                    <a:cubicBezTo>
                      <a:pt x="35417" y="94644"/>
                      <a:pt x="49387" y="71784"/>
                      <a:pt x="58277" y="4829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7" name="任意多边形: 形状 296"/>
              <p:cNvSpPr/>
              <p:nvPr/>
            </p:nvSpPr>
            <p:spPr>
              <a:xfrm flipH="1">
                <a:off x="4842838" y="3560895"/>
                <a:ext cx="101600" cy="254000"/>
              </a:xfrm>
              <a:custGeom>
                <a:avLst/>
                <a:gdLst>
                  <a:gd name="connsiteX0" fmla="*/ 83851 w 101600"/>
                  <a:gd name="connsiteY0" fmla="*/ 122740 h 254000"/>
                  <a:gd name="connsiteX1" fmla="*/ 60356 w 101600"/>
                  <a:gd name="connsiteY1" fmla="*/ 158935 h 254000"/>
                  <a:gd name="connsiteX2" fmla="*/ 48291 w 101600"/>
                  <a:gd name="connsiteY2" fmla="*/ 159570 h 254000"/>
                  <a:gd name="connsiteX3" fmla="*/ 13366 w 101600"/>
                  <a:gd name="connsiteY3" fmla="*/ 252280 h 254000"/>
                  <a:gd name="connsiteX4" fmla="*/ 5111 w 101600"/>
                  <a:gd name="connsiteY4" fmla="*/ 239580 h 254000"/>
                  <a:gd name="connsiteX5" fmla="*/ 97186 w 101600"/>
                  <a:gd name="connsiteY5" fmla="*/ 5265 h 254000"/>
                  <a:gd name="connsiteX6" fmla="*/ 101631 w 101600"/>
                  <a:gd name="connsiteY6" fmla="*/ 11615 h 254000"/>
                  <a:gd name="connsiteX7" fmla="*/ 50196 w 101600"/>
                  <a:gd name="connsiteY7" fmla="*/ 110675 h 254000"/>
                  <a:gd name="connsiteX8" fmla="*/ 45751 w 101600"/>
                  <a:gd name="connsiteY8" fmla="*/ 123375 h 254000"/>
                  <a:gd name="connsiteX9" fmla="*/ 49561 w 101600"/>
                  <a:gd name="connsiteY9" fmla="*/ 127820 h 254000"/>
                  <a:gd name="connsiteX10" fmla="*/ 61626 w 101600"/>
                  <a:gd name="connsiteY10" fmla="*/ 152585 h 254000"/>
                  <a:gd name="connsiteX11" fmla="*/ 81946 w 101600"/>
                  <a:gd name="connsiteY11" fmla="*/ 122105 h 254000"/>
                  <a:gd name="connsiteX12" fmla="*/ 83851 w 101600"/>
                  <a:gd name="connsiteY12" fmla="*/ 122740 h 254000"/>
                  <a:gd name="connsiteX13" fmla="*/ 40036 w 101600"/>
                  <a:gd name="connsiteY13" fmla="*/ 142425 h 254000"/>
                  <a:gd name="connsiteX14" fmla="*/ 17176 w 101600"/>
                  <a:gd name="connsiteY14" fmla="*/ 230055 h 254000"/>
                  <a:gd name="connsiteX15" fmla="*/ 19716 w 101600"/>
                  <a:gd name="connsiteY15" fmla="*/ 238310 h 254000"/>
                  <a:gd name="connsiteX16" fmla="*/ 43846 w 101600"/>
                  <a:gd name="connsiteY16" fmla="*/ 164015 h 254000"/>
                  <a:gd name="connsiteX17" fmla="*/ 40036 w 101600"/>
                  <a:gd name="connsiteY17" fmla="*/ 142425 h 254000"/>
                  <a:gd name="connsiteX18" fmla="*/ 54006 w 101600"/>
                  <a:gd name="connsiteY18" fmla="*/ 101150 h 254000"/>
                  <a:gd name="connsiteX19" fmla="*/ 94646 w 101600"/>
                  <a:gd name="connsiteY19" fmla="*/ 22410 h 254000"/>
                  <a:gd name="connsiteX20" fmla="*/ 92741 w 101600"/>
                  <a:gd name="connsiteY20" fmla="*/ 20505 h 254000"/>
                  <a:gd name="connsiteX21" fmla="*/ 54006 w 101600"/>
                  <a:gd name="connsiteY21" fmla="*/ 101150 h 25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1600" h="254000">
                    <a:moveTo>
                      <a:pt x="83851" y="122740"/>
                    </a:moveTo>
                    <a:cubicBezTo>
                      <a:pt x="76866" y="142425"/>
                      <a:pt x="66706" y="155125"/>
                      <a:pt x="60356" y="158935"/>
                    </a:cubicBezTo>
                    <a:cubicBezTo>
                      <a:pt x="56546" y="161475"/>
                      <a:pt x="51466" y="161475"/>
                      <a:pt x="48291" y="159570"/>
                    </a:cubicBezTo>
                    <a:cubicBezTo>
                      <a:pt x="44481" y="195130"/>
                      <a:pt x="27336" y="243390"/>
                      <a:pt x="13366" y="252280"/>
                    </a:cubicBezTo>
                    <a:cubicBezTo>
                      <a:pt x="9556" y="254820"/>
                      <a:pt x="3206" y="256090"/>
                      <a:pt x="5111" y="239580"/>
                    </a:cubicBezTo>
                    <a:cubicBezTo>
                      <a:pt x="9556" y="193860"/>
                      <a:pt x="70516" y="17330"/>
                      <a:pt x="97186" y="5265"/>
                    </a:cubicBezTo>
                    <a:cubicBezTo>
                      <a:pt x="101631" y="3360"/>
                      <a:pt x="102266" y="7170"/>
                      <a:pt x="101631" y="11615"/>
                    </a:cubicBezTo>
                    <a:cubicBezTo>
                      <a:pt x="99726" y="34475"/>
                      <a:pt x="73691" y="80830"/>
                      <a:pt x="50196" y="110675"/>
                    </a:cubicBezTo>
                    <a:cubicBezTo>
                      <a:pt x="48926" y="114485"/>
                      <a:pt x="47021" y="118930"/>
                      <a:pt x="45751" y="123375"/>
                    </a:cubicBezTo>
                    <a:cubicBezTo>
                      <a:pt x="48291" y="122740"/>
                      <a:pt x="49561" y="125280"/>
                      <a:pt x="49561" y="127820"/>
                    </a:cubicBezTo>
                    <a:cubicBezTo>
                      <a:pt x="50196" y="146235"/>
                      <a:pt x="50831" y="158935"/>
                      <a:pt x="61626" y="152585"/>
                    </a:cubicBezTo>
                    <a:cubicBezTo>
                      <a:pt x="69246" y="148140"/>
                      <a:pt x="74326" y="137980"/>
                      <a:pt x="81946" y="122105"/>
                    </a:cubicBezTo>
                    <a:lnTo>
                      <a:pt x="83851" y="122740"/>
                    </a:lnTo>
                    <a:close/>
                    <a:moveTo>
                      <a:pt x="40036" y="142425"/>
                    </a:moveTo>
                    <a:cubicBezTo>
                      <a:pt x="27971" y="179890"/>
                      <a:pt x="18446" y="215450"/>
                      <a:pt x="17176" y="230055"/>
                    </a:cubicBezTo>
                    <a:cubicBezTo>
                      <a:pt x="16541" y="236405"/>
                      <a:pt x="17176" y="239580"/>
                      <a:pt x="19716" y="238310"/>
                    </a:cubicBezTo>
                    <a:cubicBezTo>
                      <a:pt x="26701" y="233865"/>
                      <a:pt x="41941" y="186240"/>
                      <a:pt x="43846" y="164015"/>
                    </a:cubicBezTo>
                    <a:cubicBezTo>
                      <a:pt x="44481" y="155125"/>
                      <a:pt x="43211" y="150045"/>
                      <a:pt x="40036" y="142425"/>
                    </a:cubicBezTo>
                    <a:close/>
                    <a:moveTo>
                      <a:pt x="54006" y="101150"/>
                    </a:moveTo>
                    <a:cubicBezTo>
                      <a:pt x="78136" y="64955"/>
                      <a:pt x="94011" y="30665"/>
                      <a:pt x="94646" y="22410"/>
                    </a:cubicBezTo>
                    <a:cubicBezTo>
                      <a:pt x="94646" y="20505"/>
                      <a:pt x="94011" y="19870"/>
                      <a:pt x="92741" y="20505"/>
                    </a:cubicBezTo>
                    <a:cubicBezTo>
                      <a:pt x="84486" y="24315"/>
                      <a:pt x="68611" y="59875"/>
                      <a:pt x="54006" y="10115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8" name="任意多边形: 形状 297"/>
              <p:cNvSpPr/>
              <p:nvPr/>
            </p:nvSpPr>
            <p:spPr>
              <a:xfrm flipH="1">
                <a:off x="4793775" y="3541845"/>
                <a:ext cx="95250" cy="241300"/>
              </a:xfrm>
              <a:custGeom>
                <a:avLst/>
                <a:gdLst>
                  <a:gd name="connsiteX0" fmla="*/ 76063 w 95250"/>
                  <a:gd name="connsiteY0" fmla="*/ 115120 h 241300"/>
                  <a:gd name="connsiteX1" fmla="*/ 54473 w 95250"/>
                  <a:gd name="connsiteY1" fmla="*/ 148775 h 241300"/>
                  <a:gd name="connsiteX2" fmla="*/ 43679 w 95250"/>
                  <a:gd name="connsiteY2" fmla="*/ 148775 h 241300"/>
                  <a:gd name="connsiteX3" fmla="*/ 12563 w 95250"/>
                  <a:gd name="connsiteY3" fmla="*/ 235770 h 241300"/>
                  <a:gd name="connsiteX4" fmla="*/ 4944 w 95250"/>
                  <a:gd name="connsiteY4" fmla="*/ 223705 h 241300"/>
                  <a:gd name="connsiteX5" fmla="*/ 88129 w 95250"/>
                  <a:gd name="connsiteY5" fmla="*/ 5265 h 241300"/>
                  <a:gd name="connsiteX6" fmla="*/ 91938 w 95250"/>
                  <a:gd name="connsiteY6" fmla="*/ 11615 h 241300"/>
                  <a:gd name="connsiteX7" fmla="*/ 45583 w 95250"/>
                  <a:gd name="connsiteY7" fmla="*/ 104325 h 241300"/>
                  <a:gd name="connsiteX8" fmla="*/ 41773 w 95250"/>
                  <a:gd name="connsiteY8" fmla="*/ 115755 h 241300"/>
                  <a:gd name="connsiteX9" fmla="*/ 44948 w 95250"/>
                  <a:gd name="connsiteY9" fmla="*/ 120200 h 241300"/>
                  <a:gd name="connsiteX10" fmla="*/ 55108 w 95250"/>
                  <a:gd name="connsiteY10" fmla="*/ 143695 h 241300"/>
                  <a:gd name="connsiteX11" fmla="*/ 73523 w 95250"/>
                  <a:gd name="connsiteY11" fmla="*/ 115120 h 241300"/>
                  <a:gd name="connsiteX12" fmla="*/ 76063 w 95250"/>
                  <a:gd name="connsiteY12" fmla="*/ 115120 h 241300"/>
                  <a:gd name="connsiteX13" fmla="*/ 36694 w 95250"/>
                  <a:gd name="connsiteY13" fmla="*/ 132265 h 241300"/>
                  <a:gd name="connsiteX14" fmla="*/ 15738 w 95250"/>
                  <a:gd name="connsiteY14" fmla="*/ 214180 h 241300"/>
                  <a:gd name="connsiteX15" fmla="*/ 17644 w 95250"/>
                  <a:gd name="connsiteY15" fmla="*/ 221800 h 241300"/>
                  <a:gd name="connsiteX16" fmla="*/ 39233 w 95250"/>
                  <a:gd name="connsiteY16" fmla="*/ 152585 h 241300"/>
                  <a:gd name="connsiteX17" fmla="*/ 36694 w 95250"/>
                  <a:gd name="connsiteY17" fmla="*/ 132265 h 241300"/>
                  <a:gd name="connsiteX18" fmla="*/ 49394 w 95250"/>
                  <a:gd name="connsiteY18" fmla="*/ 93530 h 241300"/>
                  <a:gd name="connsiteX19" fmla="*/ 86223 w 95250"/>
                  <a:gd name="connsiteY19" fmla="*/ 19870 h 241300"/>
                  <a:gd name="connsiteX20" fmla="*/ 84319 w 95250"/>
                  <a:gd name="connsiteY20" fmla="*/ 17965 h 241300"/>
                  <a:gd name="connsiteX21" fmla="*/ 49394 w 95250"/>
                  <a:gd name="connsiteY21" fmla="*/ 93530 h 24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5250" h="241300">
                    <a:moveTo>
                      <a:pt x="76063" y="115120"/>
                    </a:moveTo>
                    <a:cubicBezTo>
                      <a:pt x="69713" y="133535"/>
                      <a:pt x="60823" y="144965"/>
                      <a:pt x="54473" y="148775"/>
                    </a:cubicBezTo>
                    <a:cubicBezTo>
                      <a:pt x="50663" y="150680"/>
                      <a:pt x="46854" y="150680"/>
                      <a:pt x="43679" y="148775"/>
                    </a:cubicBezTo>
                    <a:cubicBezTo>
                      <a:pt x="40504" y="182430"/>
                      <a:pt x="24629" y="227515"/>
                      <a:pt x="12563" y="235770"/>
                    </a:cubicBezTo>
                    <a:cubicBezTo>
                      <a:pt x="9388" y="238310"/>
                      <a:pt x="3673" y="238945"/>
                      <a:pt x="4944" y="223705"/>
                    </a:cubicBezTo>
                    <a:cubicBezTo>
                      <a:pt x="8754" y="181160"/>
                      <a:pt x="63998" y="15425"/>
                      <a:pt x="88129" y="5265"/>
                    </a:cubicBezTo>
                    <a:cubicBezTo>
                      <a:pt x="91938" y="3360"/>
                      <a:pt x="92573" y="7170"/>
                      <a:pt x="91938" y="11615"/>
                    </a:cubicBezTo>
                    <a:cubicBezTo>
                      <a:pt x="90033" y="33205"/>
                      <a:pt x="66538" y="76385"/>
                      <a:pt x="45583" y="104325"/>
                    </a:cubicBezTo>
                    <a:cubicBezTo>
                      <a:pt x="44313" y="108135"/>
                      <a:pt x="43044" y="111945"/>
                      <a:pt x="41773" y="115755"/>
                    </a:cubicBezTo>
                    <a:cubicBezTo>
                      <a:pt x="43679" y="115120"/>
                      <a:pt x="44948" y="117660"/>
                      <a:pt x="44948" y="120200"/>
                    </a:cubicBezTo>
                    <a:cubicBezTo>
                      <a:pt x="44948" y="137345"/>
                      <a:pt x="45583" y="149410"/>
                      <a:pt x="55108" y="143695"/>
                    </a:cubicBezTo>
                    <a:cubicBezTo>
                      <a:pt x="62094" y="139885"/>
                      <a:pt x="66538" y="130360"/>
                      <a:pt x="73523" y="115120"/>
                    </a:cubicBezTo>
                    <a:lnTo>
                      <a:pt x="76063" y="115120"/>
                    </a:lnTo>
                    <a:close/>
                    <a:moveTo>
                      <a:pt x="36694" y="132265"/>
                    </a:moveTo>
                    <a:cubicBezTo>
                      <a:pt x="25898" y="167190"/>
                      <a:pt x="17008" y="200210"/>
                      <a:pt x="15738" y="214180"/>
                    </a:cubicBezTo>
                    <a:cubicBezTo>
                      <a:pt x="15104" y="220530"/>
                      <a:pt x="15738" y="223070"/>
                      <a:pt x="17644" y="221800"/>
                    </a:cubicBezTo>
                    <a:cubicBezTo>
                      <a:pt x="23994" y="217990"/>
                      <a:pt x="37329" y="173540"/>
                      <a:pt x="39233" y="152585"/>
                    </a:cubicBezTo>
                    <a:cubicBezTo>
                      <a:pt x="40504" y="144965"/>
                      <a:pt x="39869" y="139885"/>
                      <a:pt x="36694" y="132265"/>
                    </a:cubicBezTo>
                    <a:close/>
                    <a:moveTo>
                      <a:pt x="49394" y="93530"/>
                    </a:moveTo>
                    <a:cubicBezTo>
                      <a:pt x="70983" y="59875"/>
                      <a:pt x="85588" y="28125"/>
                      <a:pt x="86223" y="19870"/>
                    </a:cubicBezTo>
                    <a:cubicBezTo>
                      <a:pt x="86223" y="17965"/>
                      <a:pt x="85588" y="17330"/>
                      <a:pt x="84319" y="17965"/>
                    </a:cubicBezTo>
                    <a:cubicBezTo>
                      <a:pt x="77333" y="21775"/>
                      <a:pt x="62729" y="54795"/>
                      <a:pt x="49394" y="935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9" name="任意多边形: 形状 298"/>
              <p:cNvSpPr/>
              <p:nvPr/>
            </p:nvSpPr>
            <p:spPr>
              <a:xfrm flipH="1">
                <a:off x="4724570" y="3577528"/>
                <a:ext cx="101600" cy="114300"/>
              </a:xfrm>
              <a:custGeom>
                <a:avLst/>
                <a:gdLst>
                  <a:gd name="connsiteX0" fmla="*/ 15748 w 101600"/>
                  <a:gd name="connsiteY0" fmla="*/ 87057 h 114300"/>
                  <a:gd name="connsiteX1" fmla="*/ 14478 w 101600"/>
                  <a:gd name="connsiteY1" fmla="*/ 94042 h 114300"/>
                  <a:gd name="connsiteX2" fmla="*/ 24003 w 101600"/>
                  <a:gd name="connsiteY2" fmla="*/ 103567 h 114300"/>
                  <a:gd name="connsiteX3" fmla="*/ 52578 w 101600"/>
                  <a:gd name="connsiteY3" fmla="*/ 63562 h 114300"/>
                  <a:gd name="connsiteX4" fmla="*/ 85598 w 101600"/>
                  <a:gd name="connsiteY4" fmla="*/ 5778 h 114300"/>
                  <a:gd name="connsiteX5" fmla="*/ 91948 w 101600"/>
                  <a:gd name="connsiteY5" fmla="*/ 12762 h 114300"/>
                  <a:gd name="connsiteX6" fmla="*/ 60198 w 101600"/>
                  <a:gd name="connsiteY6" fmla="*/ 61022 h 114300"/>
                  <a:gd name="connsiteX7" fmla="*/ 58928 w 101600"/>
                  <a:gd name="connsiteY7" fmla="*/ 68007 h 114300"/>
                  <a:gd name="connsiteX8" fmla="*/ 67183 w 101600"/>
                  <a:gd name="connsiteY8" fmla="*/ 78167 h 114300"/>
                  <a:gd name="connsiteX9" fmla="*/ 97664 w 101600"/>
                  <a:gd name="connsiteY9" fmla="*/ 29907 h 114300"/>
                  <a:gd name="connsiteX10" fmla="*/ 98933 w 101600"/>
                  <a:gd name="connsiteY10" fmla="*/ 30542 h 114300"/>
                  <a:gd name="connsiteX11" fmla="*/ 64008 w 101600"/>
                  <a:gd name="connsiteY11" fmla="*/ 84517 h 114300"/>
                  <a:gd name="connsiteX12" fmla="*/ 50673 w 101600"/>
                  <a:gd name="connsiteY12" fmla="*/ 71817 h 114300"/>
                  <a:gd name="connsiteX13" fmla="*/ 50673 w 101600"/>
                  <a:gd name="connsiteY13" fmla="*/ 71182 h 114300"/>
                  <a:gd name="connsiteX14" fmla="*/ 20193 w 101600"/>
                  <a:gd name="connsiteY14" fmla="*/ 110553 h 114300"/>
                  <a:gd name="connsiteX15" fmla="*/ 4953 w 101600"/>
                  <a:gd name="connsiteY15" fmla="*/ 98487 h 114300"/>
                  <a:gd name="connsiteX16" fmla="*/ 45593 w 101600"/>
                  <a:gd name="connsiteY16" fmla="*/ 24192 h 114300"/>
                  <a:gd name="connsiteX17" fmla="*/ 52578 w 101600"/>
                  <a:gd name="connsiteY17" fmla="*/ 31178 h 114300"/>
                  <a:gd name="connsiteX18" fmla="*/ 15748 w 101600"/>
                  <a:gd name="connsiteY18" fmla="*/ 87057 h 114300"/>
                  <a:gd name="connsiteX19" fmla="*/ 16383 w 101600"/>
                  <a:gd name="connsiteY19" fmla="*/ 82612 h 114300"/>
                  <a:gd name="connsiteX20" fmla="*/ 46864 w 101600"/>
                  <a:gd name="connsiteY20" fmla="*/ 33082 h 114300"/>
                  <a:gd name="connsiteX21" fmla="*/ 44323 w 101600"/>
                  <a:gd name="connsiteY21" fmla="*/ 30542 h 114300"/>
                  <a:gd name="connsiteX22" fmla="*/ 16383 w 101600"/>
                  <a:gd name="connsiteY22" fmla="*/ 82612 h 114300"/>
                  <a:gd name="connsiteX23" fmla="*/ 61468 w 101600"/>
                  <a:gd name="connsiteY23" fmla="*/ 57212 h 114300"/>
                  <a:gd name="connsiteX24" fmla="*/ 87503 w 101600"/>
                  <a:gd name="connsiteY24" fmla="*/ 15303 h 114300"/>
                  <a:gd name="connsiteX25" fmla="*/ 84964 w 101600"/>
                  <a:gd name="connsiteY25" fmla="*/ 12128 h 114300"/>
                  <a:gd name="connsiteX26" fmla="*/ 61468 w 101600"/>
                  <a:gd name="connsiteY26" fmla="*/ 57212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01600" h="114300">
                    <a:moveTo>
                      <a:pt x="15748" y="87057"/>
                    </a:moveTo>
                    <a:cubicBezTo>
                      <a:pt x="15114" y="89597"/>
                      <a:pt x="14478" y="92137"/>
                      <a:pt x="14478" y="94042"/>
                    </a:cubicBezTo>
                    <a:cubicBezTo>
                      <a:pt x="13843" y="101662"/>
                      <a:pt x="15114" y="108647"/>
                      <a:pt x="24003" y="103567"/>
                    </a:cubicBezTo>
                    <a:cubicBezTo>
                      <a:pt x="33528" y="97853"/>
                      <a:pt x="44323" y="81342"/>
                      <a:pt x="52578" y="63562"/>
                    </a:cubicBezTo>
                    <a:cubicBezTo>
                      <a:pt x="57658" y="41337"/>
                      <a:pt x="72898" y="12762"/>
                      <a:pt x="85598" y="5778"/>
                    </a:cubicBezTo>
                    <a:cubicBezTo>
                      <a:pt x="89408" y="3872"/>
                      <a:pt x="92583" y="3872"/>
                      <a:pt x="91948" y="12762"/>
                    </a:cubicBezTo>
                    <a:cubicBezTo>
                      <a:pt x="90043" y="30542"/>
                      <a:pt x="74803" y="50862"/>
                      <a:pt x="60198" y="61022"/>
                    </a:cubicBezTo>
                    <a:cubicBezTo>
                      <a:pt x="59564" y="63562"/>
                      <a:pt x="59564" y="66103"/>
                      <a:pt x="58928" y="68007"/>
                    </a:cubicBezTo>
                    <a:cubicBezTo>
                      <a:pt x="58293" y="75628"/>
                      <a:pt x="59564" y="83247"/>
                      <a:pt x="67183" y="78167"/>
                    </a:cubicBezTo>
                    <a:cubicBezTo>
                      <a:pt x="77343" y="71817"/>
                      <a:pt x="90043" y="50228"/>
                      <a:pt x="97664" y="29907"/>
                    </a:cubicBezTo>
                    <a:lnTo>
                      <a:pt x="98933" y="30542"/>
                    </a:lnTo>
                    <a:cubicBezTo>
                      <a:pt x="90678" y="55307"/>
                      <a:pt x="76708" y="76897"/>
                      <a:pt x="64008" y="84517"/>
                    </a:cubicBezTo>
                    <a:cubicBezTo>
                      <a:pt x="53848" y="90867"/>
                      <a:pt x="49403" y="83247"/>
                      <a:pt x="50673" y="71817"/>
                    </a:cubicBezTo>
                    <a:lnTo>
                      <a:pt x="50673" y="71182"/>
                    </a:lnTo>
                    <a:cubicBezTo>
                      <a:pt x="41783" y="89597"/>
                      <a:pt x="30353" y="104203"/>
                      <a:pt x="20193" y="110553"/>
                    </a:cubicBezTo>
                    <a:cubicBezTo>
                      <a:pt x="8764" y="117537"/>
                      <a:pt x="3683" y="111187"/>
                      <a:pt x="4953" y="98487"/>
                    </a:cubicBezTo>
                    <a:cubicBezTo>
                      <a:pt x="6858" y="74992"/>
                      <a:pt x="29718" y="32447"/>
                      <a:pt x="45593" y="24192"/>
                    </a:cubicBezTo>
                    <a:cubicBezTo>
                      <a:pt x="49403" y="22287"/>
                      <a:pt x="53848" y="22287"/>
                      <a:pt x="52578" y="31178"/>
                    </a:cubicBezTo>
                    <a:cubicBezTo>
                      <a:pt x="51308" y="50228"/>
                      <a:pt x="31623" y="75628"/>
                      <a:pt x="15748" y="87057"/>
                    </a:cubicBezTo>
                    <a:close/>
                    <a:moveTo>
                      <a:pt x="16383" y="82612"/>
                    </a:moveTo>
                    <a:cubicBezTo>
                      <a:pt x="26543" y="72453"/>
                      <a:pt x="45593" y="48957"/>
                      <a:pt x="46864" y="33082"/>
                    </a:cubicBezTo>
                    <a:cubicBezTo>
                      <a:pt x="46864" y="30542"/>
                      <a:pt x="46864" y="29272"/>
                      <a:pt x="44323" y="30542"/>
                    </a:cubicBezTo>
                    <a:cubicBezTo>
                      <a:pt x="36068" y="34987"/>
                      <a:pt x="22098" y="62292"/>
                      <a:pt x="16383" y="82612"/>
                    </a:cubicBezTo>
                    <a:close/>
                    <a:moveTo>
                      <a:pt x="61468" y="57212"/>
                    </a:moveTo>
                    <a:cubicBezTo>
                      <a:pt x="70993" y="47687"/>
                      <a:pt x="85598" y="29907"/>
                      <a:pt x="87503" y="15303"/>
                    </a:cubicBezTo>
                    <a:cubicBezTo>
                      <a:pt x="87503" y="12762"/>
                      <a:pt x="87503" y="10857"/>
                      <a:pt x="84964" y="12128"/>
                    </a:cubicBezTo>
                    <a:cubicBezTo>
                      <a:pt x="77343" y="15937"/>
                      <a:pt x="66548" y="38162"/>
                      <a:pt x="61468" y="572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0" name="任意多边形: 形状 299"/>
              <p:cNvSpPr/>
              <p:nvPr/>
            </p:nvSpPr>
            <p:spPr>
              <a:xfrm flipH="1">
                <a:off x="4727237" y="3227321"/>
                <a:ext cx="88900" cy="114300"/>
              </a:xfrm>
              <a:custGeom>
                <a:avLst/>
                <a:gdLst>
                  <a:gd name="connsiteX0" fmla="*/ 41275 w 88900"/>
                  <a:gd name="connsiteY0" fmla="*/ 6099 h 114300"/>
                  <a:gd name="connsiteX1" fmla="*/ 3175 w 88900"/>
                  <a:gd name="connsiteY1" fmla="*/ 20069 h 114300"/>
                  <a:gd name="connsiteX2" fmla="*/ 33655 w 88900"/>
                  <a:gd name="connsiteY2" fmla="*/ 11814 h 114300"/>
                  <a:gd name="connsiteX3" fmla="*/ 78740 w 88900"/>
                  <a:gd name="connsiteY3" fmla="*/ 88649 h 114300"/>
                  <a:gd name="connsiteX4" fmla="*/ 71755 w 88900"/>
                  <a:gd name="connsiteY4" fmla="*/ 112144 h 114300"/>
                  <a:gd name="connsiteX5" fmla="*/ 86360 w 88900"/>
                  <a:gd name="connsiteY5" fmla="*/ 82934 h 114300"/>
                  <a:gd name="connsiteX6" fmla="*/ 41275 w 88900"/>
                  <a:gd name="connsiteY6" fmla="*/ 6099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900" h="114300">
                    <a:moveTo>
                      <a:pt x="41275" y="6099"/>
                    </a:moveTo>
                    <a:cubicBezTo>
                      <a:pt x="25400" y="-2791"/>
                      <a:pt x="11430" y="10544"/>
                      <a:pt x="3175" y="20069"/>
                    </a:cubicBezTo>
                    <a:cubicBezTo>
                      <a:pt x="11430" y="16259"/>
                      <a:pt x="21590" y="5464"/>
                      <a:pt x="33655" y="11814"/>
                    </a:cubicBezTo>
                    <a:cubicBezTo>
                      <a:pt x="58420" y="25784"/>
                      <a:pt x="78740" y="60709"/>
                      <a:pt x="78740" y="88649"/>
                    </a:cubicBezTo>
                    <a:cubicBezTo>
                      <a:pt x="78740" y="98809"/>
                      <a:pt x="76200" y="106429"/>
                      <a:pt x="71755" y="112144"/>
                    </a:cubicBezTo>
                    <a:cubicBezTo>
                      <a:pt x="80645" y="107699"/>
                      <a:pt x="86995" y="97539"/>
                      <a:pt x="86360" y="82934"/>
                    </a:cubicBezTo>
                    <a:cubicBezTo>
                      <a:pt x="86360" y="54994"/>
                      <a:pt x="66040" y="20704"/>
                      <a:pt x="41275" y="6099"/>
                    </a:cubicBezTo>
                    <a:close/>
                  </a:path>
                </a:pathLst>
              </a:custGeom>
              <a:solidFill>
                <a:srgbClr val="3F55CE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1" name="任意多边形: 形状 300"/>
              <p:cNvSpPr/>
              <p:nvPr/>
            </p:nvSpPr>
            <p:spPr>
              <a:xfrm flipH="1">
                <a:off x="1470957" y="1625600"/>
                <a:ext cx="6350" cy="6350"/>
              </a:xfrm>
              <a:custGeom>
                <a:avLst/>
                <a:gdLst>
                  <a:gd name="connsiteX0" fmla="*/ 5080 w 6350"/>
                  <a:gd name="connsiteY0" fmla="*/ 3175 h 6350"/>
                  <a:gd name="connsiteX1" fmla="*/ 3175 w 6350"/>
                  <a:gd name="connsiteY1" fmla="*/ 7620 h 6350"/>
                  <a:gd name="connsiteX2" fmla="*/ 5080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5080" y="3175"/>
                    </a:moveTo>
                    <a:cubicBezTo>
                      <a:pt x="4445" y="4445"/>
                      <a:pt x="3810" y="6350"/>
                      <a:pt x="3175" y="7620"/>
                    </a:cubicBezTo>
                    <a:cubicBezTo>
                      <a:pt x="3810" y="6350"/>
                      <a:pt x="4445" y="5080"/>
                      <a:pt x="5080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2" name="任意多边形: 形状 301"/>
              <p:cNvSpPr/>
              <p:nvPr/>
            </p:nvSpPr>
            <p:spPr>
              <a:xfrm flipH="1">
                <a:off x="1463972" y="1592580"/>
                <a:ext cx="6350" cy="12700"/>
              </a:xfrm>
              <a:custGeom>
                <a:avLst/>
                <a:gdLst>
                  <a:gd name="connsiteX0" fmla="*/ 3810 w 6350"/>
                  <a:gd name="connsiteY0" fmla="*/ 3175 h 12700"/>
                  <a:gd name="connsiteX1" fmla="*/ 3175 w 6350"/>
                  <a:gd name="connsiteY1" fmla="*/ 13970 h 12700"/>
                  <a:gd name="connsiteX2" fmla="*/ 3810 w 6350"/>
                  <a:gd name="connsiteY2" fmla="*/ 3175 h 1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12700">
                    <a:moveTo>
                      <a:pt x="3810" y="3175"/>
                    </a:moveTo>
                    <a:cubicBezTo>
                      <a:pt x="3810" y="6985"/>
                      <a:pt x="3810" y="10160"/>
                      <a:pt x="3175" y="13970"/>
                    </a:cubicBezTo>
                    <a:cubicBezTo>
                      <a:pt x="3175" y="10795"/>
                      <a:pt x="3810" y="6985"/>
                      <a:pt x="3810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3" name="任意多边形: 形状 302"/>
              <p:cNvSpPr/>
              <p:nvPr/>
            </p:nvSpPr>
            <p:spPr>
              <a:xfrm flipH="1">
                <a:off x="1475402" y="1633855"/>
                <a:ext cx="6350" cy="6350"/>
              </a:xfrm>
              <a:custGeom>
                <a:avLst/>
                <a:gdLst>
                  <a:gd name="connsiteX0" fmla="*/ 5715 w 6350"/>
                  <a:gd name="connsiteY0" fmla="*/ 3175 h 6350"/>
                  <a:gd name="connsiteX1" fmla="*/ 3175 w 6350"/>
                  <a:gd name="connsiteY1" fmla="*/ 6985 h 6350"/>
                  <a:gd name="connsiteX2" fmla="*/ 571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5715" y="3175"/>
                    </a:moveTo>
                    <a:cubicBezTo>
                      <a:pt x="5080" y="4445"/>
                      <a:pt x="4445" y="5715"/>
                      <a:pt x="3175" y="6985"/>
                    </a:cubicBezTo>
                    <a:cubicBezTo>
                      <a:pt x="4445" y="5715"/>
                      <a:pt x="5080" y="4445"/>
                      <a:pt x="571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4" name="任意多边形: 形状 303"/>
              <p:cNvSpPr/>
              <p:nvPr/>
            </p:nvSpPr>
            <p:spPr>
              <a:xfrm flipH="1">
                <a:off x="1465877" y="1606550"/>
                <a:ext cx="6350" cy="12700"/>
              </a:xfrm>
              <a:custGeom>
                <a:avLst/>
                <a:gdLst>
                  <a:gd name="connsiteX0" fmla="*/ 4445 w 6350"/>
                  <a:gd name="connsiteY0" fmla="*/ 3175 h 12700"/>
                  <a:gd name="connsiteX1" fmla="*/ 3175 w 6350"/>
                  <a:gd name="connsiteY1" fmla="*/ 10160 h 12700"/>
                  <a:gd name="connsiteX2" fmla="*/ 4445 w 6350"/>
                  <a:gd name="connsiteY2" fmla="*/ 3175 h 1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12700">
                    <a:moveTo>
                      <a:pt x="4445" y="3175"/>
                    </a:moveTo>
                    <a:cubicBezTo>
                      <a:pt x="4445" y="5715"/>
                      <a:pt x="3810" y="7620"/>
                      <a:pt x="3175" y="10160"/>
                    </a:cubicBezTo>
                    <a:cubicBezTo>
                      <a:pt x="3810" y="7620"/>
                      <a:pt x="4445" y="5715"/>
                      <a:pt x="444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5" name="任意多边形: 形状 304"/>
              <p:cNvSpPr/>
              <p:nvPr/>
            </p:nvSpPr>
            <p:spPr>
              <a:xfrm flipH="1">
                <a:off x="1832907" y="1102995"/>
                <a:ext cx="6350" cy="6350"/>
              </a:xfrm>
              <a:custGeom>
                <a:avLst/>
                <a:gdLst>
                  <a:gd name="connsiteX0" fmla="*/ 3175 w 6350"/>
                  <a:gd name="connsiteY0" fmla="*/ 3175 h 6350"/>
                  <a:gd name="connsiteX1" fmla="*/ 6985 w 6350"/>
                  <a:gd name="connsiteY1" fmla="*/ 3810 h 6350"/>
                  <a:gd name="connsiteX2" fmla="*/ 317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175"/>
                    </a:moveTo>
                    <a:cubicBezTo>
                      <a:pt x="4445" y="3175"/>
                      <a:pt x="5714" y="3810"/>
                      <a:pt x="6985" y="3810"/>
                    </a:cubicBezTo>
                    <a:cubicBezTo>
                      <a:pt x="5080" y="3810"/>
                      <a:pt x="3810" y="3175"/>
                      <a:pt x="317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6" name="任意多边形: 形状 305"/>
              <p:cNvSpPr/>
              <p:nvPr/>
            </p:nvSpPr>
            <p:spPr>
              <a:xfrm flipH="1">
                <a:off x="1467782" y="1616710"/>
                <a:ext cx="6350" cy="6350"/>
              </a:xfrm>
              <a:custGeom>
                <a:avLst/>
                <a:gdLst>
                  <a:gd name="connsiteX0" fmla="*/ 4445 w 6350"/>
                  <a:gd name="connsiteY0" fmla="*/ 3175 h 6350"/>
                  <a:gd name="connsiteX1" fmla="*/ 3175 w 6350"/>
                  <a:gd name="connsiteY1" fmla="*/ 8890 h 6350"/>
                  <a:gd name="connsiteX2" fmla="*/ 444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4445" y="3175"/>
                    </a:moveTo>
                    <a:cubicBezTo>
                      <a:pt x="3810" y="5080"/>
                      <a:pt x="3810" y="6985"/>
                      <a:pt x="3175" y="8890"/>
                    </a:cubicBezTo>
                    <a:cubicBezTo>
                      <a:pt x="3810" y="6985"/>
                      <a:pt x="4445" y="5080"/>
                      <a:pt x="444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7" name="任意多边形: 形状 306"/>
              <p:cNvSpPr/>
              <p:nvPr/>
            </p:nvSpPr>
            <p:spPr>
              <a:xfrm flipH="1">
                <a:off x="1819572" y="1106805"/>
                <a:ext cx="6350" cy="6350"/>
              </a:xfrm>
              <a:custGeom>
                <a:avLst/>
                <a:gdLst>
                  <a:gd name="connsiteX0" fmla="*/ 3175 w 6350"/>
                  <a:gd name="connsiteY0" fmla="*/ 3175 h 6350"/>
                  <a:gd name="connsiteX1" fmla="*/ 7620 w 6350"/>
                  <a:gd name="connsiteY1" fmla="*/ 5080 h 6350"/>
                  <a:gd name="connsiteX2" fmla="*/ 317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175"/>
                    </a:moveTo>
                    <a:cubicBezTo>
                      <a:pt x="4445" y="3810"/>
                      <a:pt x="6350" y="4445"/>
                      <a:pt x="7620" y="5080"/>
                    </a:cubicBezTo>
                    <a:cubicBezTo>
                      <a:pt x="6350" y="3810"/>
                      <a:pt x="5080" y="3175"/>
                      <a:pt x="317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8" name="任意多边形: 形状 307"/>
              <p:cNvSpPr/>
              <p:nvPr/>
            </p:nvSpPr>
            <p:spPr>
              <a:xfrm flipH="1">
                <a:off x="1848782" y="1100455"/>
                <a:ext cx="6350" cy="6350"/>
              </a:xfrm>
              <a:custGeom>
                <a:avLst/>
                <a:gdLst>
                  <a:gd name="connsiteX0" fmla="*/ 3175 w 6350"/>
                  <a:gd name="connsiteY0" fmla="*/ 3175 h 6350"/>
                  <a:gd name="connsiteX1" fmla="*/ 5714 w 6350"/>
                  <a:gd name="connsiteY1" fmla="*/ 3175 h 6350"/>
                  <a:gd name="connsiteX2" fmla="*/ 317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175"/>
                    </a:moveTo>
                    <a:cubicBezTo>
                      <a:pt x="3810" y="3175"/>
                      <a:pt x="5080" y="3175"/>
                      <a:pt x="5714" y="3175"/>
                    </a:cubicBezTo>
                    <a:cubicBezTo>
                      <a:pt x="4445" y="3175"/>
                      <a:pt x="3810" y="3175"/>
                      <a:pt x="317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9" name="任意多边形: 形状 308"/>
              <p:cNvSpPr/>
              <p:nvPr/>
            </p:nvSpPr>
            <p:spPr>
              <a:xfrm flipH="1">
                <a:off x="1886247" y="1104900"/>
                <a:ext cx="6350" cy="6350"/>
              </a:xfrm>
              <a:custGeom>
                <a:avLst/>
                <a:gdLst>
                  <a:gd name="connsiteX0" fmla="*/ 3175 w 6350"/>
                  <a:gd name="connsiteY0" fmla="*/ 3810 h 6350"/>
                  <a:gd name="connsiteX1" fmla="*/ 5080 w 6350"/>
                  <a:gd name="connsiteY1" fmla="*/ 3175 h 6350"/>
                  <a:gd name="connsiteX2" fmla="*/ 3175 w 6350"/>
                  <a:gd name="connsiteY2" fmla="*/ 381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810"/>
                    </a:moveTo>
                    <a:cubicBezTo>
                      <a:pt x="3810" y="3810"/>
                      <a:pt x="4445" y="3175"/>
                      <a:pt x="5080" y="3175"/>
                    </a:cubicBezTo>
                    <a:cubicBezTo>
                      <a:pt x="4445" y="3810"/>
                      <a:pt x="3810" y="3810"/>
                      <a:pt x="3175" y="3810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0" name="任意多边形: 形状 309"/>
              <p:cNvSpPr/>
              <p:nvPr/>
            </p:nvSpPr>
            <p:spPr>
              <a:xfrm flipH="1">
                <a:off x="1862752" y="1100455"/>
                <a:ext cx="6350" cy="6350"/>
              </a:xfrm>
              <a:custGeom>
                <a:avLst/>
                <a:gdLst>
                  <a:gd name="connsiteX0" fmla="*/ 3175 w 6350"/>
                  <a:gd name="connsiteY0" fmla="*/ 3175 h 6350"/>
                  <a:gd name="connsiteX1" fmla="*/ 6985 w 6350"/>
                  <a:gd name="connsiteY1" fmla="*/ 3175 h 6350"/>
                  <a:gd name="connsiteX2" fmla="*/ 317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175"/>
                    </a:moveTo>
                    <a:cubicBezTo>
                      <a:pt x="4445" y="3175"/>
                      <a:pt x="5715" y="3175"/>
                      <a:pt x="6985" y="3175"/>
                    </a:cubicBezTo>
                    <a:cubicBezTo>
                      <a:pt x="5715" y="3175"/>
                      <a:pt x="4445" y="3175"/>
                      <a:pt x="317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1" name="任意多边形: 形状 310"/>
              <p:cNvSpPr/>
              <p:nvPr/>
            </p:nvSpPr>
            <p:spPr>
              <a:xfrm flipH="1">
                <a:off x="1874817" y="1101725"/>
                <a:ext cx="6350" cy="6350"/>
              </a:xfrm>
              <a:custGeom>
                <a:avLst/>
                <a:gdLst>
                  <a:gd name="connsiteX0" fmla="*/ 3175 w 6350"/>
                  <a:gd name="connsiteY0" fmla="*/ 3810 h 6350"/>
                  <a:gd name="connsiteX1" fmla="*/ 6986 w 6350"/>
                  <a:gd name="connsiteY1" fmla="*/ 3175 h 6350"/>
                  <a:gd name="connsiteX2" fmla="*/ 3175 w 6350"/>
                  <a:gd name="connsiteY2" fmla="*/ 381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810"/>
                    </a:moveTo>
                    <a:cubicBezTo>
                      <a:pt x="4445" y="3810"/>
                      <a:pt x="5715" y="3175"/>
                      <a:pt x="6986" y="3175"/>
                    </a:cubicBezTo>
                    <a:cubicBezTo>
                      <a:pt x="5715" y="3175"/>
                      <a:pt x="4445" y="3810"/>
                      <a:pt x="3175" y="3810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2" name="任意多边形: 形状 311"/>
              <p:cNvSpPr/>
              <p:nvPr/>
            </p:nvSpPr>
            <p:spPr>
              <a:xfrm flipH="1">
                <a:off x="1804332" y="1112520"/>
                <a:ext cx="6350" cy="6350"/>
              </a:xfrm>
              <a:custGeom>
                <a:avLst/>
                <a:gdLst>
                  <a:gd name="connsiteX0" fmla="*/ 3175 w 6350"/>
                  <a:gd name="connsiteY0" fmla="*/ 3175 h 6350"/>
                  <a:gd name="connsiteX1" fmla="*/ 7620 w 6350"/>
                  <a:gd name="connsiteY1" fmla="*/ 5080 h 6350"/>
                  <a:gd name="connsiteX2" fmla="*/ 317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175"/>
                    </a:moveTo>
                    <a:cubicBezTo>
                      <a:pt x="4445" y="3810"/>
                      <a:pt x="6350" y="4445"/>
                      <a:pt x="7620" y="5080"/>
                    </a:cubicBezTo>
                    <a:cubicBezTo>
                      <a:pt x="5714" y="3810"/>
                      <a:pt x="4445" y="3810"/>
                      <a:pt x="317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3" name="任意多边形: 形状 312"/>
              <p:cNvSpPr/>
              <p:nvPr/>
            </p:nvSpPr>
            <p:spPr>
              <a:xfrm flipH="1">
                <a:off x="1479847" y="1640205"/>
                <a:ext cx="6350" cy="6350"/>
              </a:xfrm>
              <a:custGeom>
                <a:avLst/>
                <a:gdLst>
                  <a:gd name="connsiteX0" fmla="*/ 5715 w 6350"/>
                  <a:gd name="connsiteY0" fmla="*/ 3175 h 6350"/>
                  <a:gd name="connsiteX1" fmla="*/ 3175 w 6350"/>
                  <a:gd name="connsiteY1" fmla="*/ 6350 h 6350"/>
                  <a:gd name="connsiteX2" fmla="*/ 571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5715" y="3175"/>
                    </a:moveTo>
                    <a:cubicBezTo>
                      <a:pt x="5080" y="4445"/>
                      <a:pt x="3810" y="5715"/>
                      <a:pt x="3175" y="6350"/>
                    </a:cubicBezTo>
                    <a:cubicBezTo>
                      <a:pt x="4445" y="5715"/>
                      <a:pt x="5080" y="4445"/>
                      <a:pt x="571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4" name="任意多边形: 形状 313"/>
              <p:cNvSpPr/>
              <p:nvPr/>
            </p:nvSpPr>
            <p:spPr>
              <a:xfrm flipH="1">
                <a:off x="2013882" y="1136015"/>
                <a:ext cx="6350" cy="6350"/>
              </a:xfrm>
              <a:custGeom>
                <a:avLst/>
                <a:gdLst>
                  <a:gd name="connsiteX0" fmla="*/ 7620 w 6350"/>
                  <a:gd name="connsiteY0" fmla="*/ 3175 h 6350"/>
                  <a:gd name="connsiteX1" fmla="*/ 3175 w 6350"/>
                  <a:gd name="connsiteY1" fmla="*/ 4445 h 6350"/>
                  <a:gd name="connsiteX2" fmla="*/ 7620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7620" y="3175"/>
                    </a:moveTo>
                    <a:cubicBezTo>
                      <a:pt x="6350" y="3175"/>
                      <a:pt x="5080" y="3810"/>
                      <a:pt x="3175" y="4445"/>
                    </a:cubicBezTo>
                    <a:cubicBezTo>
                      <a:pt x="5080" y="3810"/>
                      <a:pt x="6350" y="3175"/>
                      <a:pt x="7620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5" name="任意多边形: 形状 314"/>
              <p:cNvSpPr/>
              <p:nvPr/>
            </p:nvSpPr>
            <p:spPr>
              <a:xfrm flipH="1">
                <a:off x="1993562" y="1134745"/>
                <a:ext cx="6350" cy="6350"/>
              </a:xfrm>
              <a:custGeom>
                <a:avLst/>
                <a:gdLst>
                  <a:gd name="connsiteX0" fmla="*/ 7620 w 6350"/>
                  <a:gd name="connsiteY0" fmla="*/ 3175 h 6350"/>
                  <a:gd name="connsiteX1" fmla="*/ 3175 w 6350"/>
                  <a:gd name="connsiteY1" fmla="*/ 3175 h 6350"/>
                  <a:gd name="connsiteX2" fmla="*/ 7620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7620" y="3175"/>
                    </a:moveTo>
                    <a:cubicBezTo>
                      <a:pt x="6350" y="3175"/>
                      <a:pt x="4445" y="3175"/>
                      <a:pt x="3175" y="3175"/>
                    </a:cubicBezTo>
                    <a:cubicBezTo>
                      <a:pt x="4445" y="3175"/>
                      <a:pt x="6350" y="3175"/>
                      <a:pt x="7620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6" name="任意多边形: 形状 315"/>
              <p:cNvSpPr/>
              <p:nvPr/>
            </p:nvSpPr>
            <p:spPr>
              <a:xfrm flipH="1">
                <a:off x="2003722" y="1134745"/>
                <a:ext cx="6350" cy="6350"/>
              </a:xfrm>
              <a:custGeom>
                <a:avLst/>
                <a:gdLst>
                  <a:gd name="connsiteX0" fmla="*/ 3175 w 6350"/>
                  <a:gd name="connsiteY0" fmla="*/ 3810 h 6350"/>
                  <a:gd name="connsiteX1" fmla="*/ 7620 w 6350"/>
                  <a:gd name="connsiteY1" fmla="*/ 3175 h 6350"/>
                  <a:gd name="connsiteX2" fmla="*/ 3175 w 6350"/>
                  <a:gd name="connsiteY2" fmla="*/ 381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3175" y="3810"/>
                    </a:moveTo>
                    <a:cubicBezTo>
                      <a:pt x="4445" y="3810"/>
                      <a:pt x="6350" y="3175"/>
                      <a:pt x="7620" y="3175"/>
                    </a:cubicBezTo>
                    <a:cubicBezTo>
                      <a:pt x="5715" y="3175"/>
                      <a:pt x="4445" y="3175"/>
                      <a:pt x="3175" y="3810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7" name="任意多边形: 形状 316"/>
              <p:cNvSpPr/>
              <p:nvPr/>
            </p:nvSpPr>
            <p:spPr>
              <a:xfrm flipH="1">
                <a:off x="2022137" y="1138555"/>
                <a:ext cx="6350" cy="6350"/>
              </a:xfrm>
              <a:custGeom>
                <a:avLst/>
                <a:gdLst>
                  <a:gd name="connsiteX0" fmla="*/ 6985 w 6350"/>
                  <a:gd name="connsiteY0" fmla="*/ 3175 h 6350"/>
                  <a:gd name="connsiteX1" fmla="*/ 3175 w 6350"/>
                  <a:gd name="connsiteY1" fmla="*/ 5080 h 6350"/>
                  <a:gd name="connsiteX2" fmla="*/ 6985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6985" y="3175"/>
                    </a:moveTo>
                    <a:cubicBezTo>
                      <a:pt x="5715" y="3810"/>
                      <a:pt x="4445" y="4445"/>
                      <a:pt x="3175" y="5080"/>
                    </a:cubicBezTo>
                    <a:cubicBezTo>
                      <a:pt x="3810" y="4445"/>
                      <a:pt x="5080" y="3810"/>
                      <a:pt x="6985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8" name="任意多边形: 形状 317"/>
              <p:cNvSpPr/>
              <p:nvPr/>
            </p:nvSpPr>
            <p:spPr>
              <a:xfrm flipH="1">
                <a:off x="1485562" y="1645920"/>
                <a:ext cx="6350" cy="6350"/>
              </a:xfrm>
              <a:custGeom>
                <a:avLst/>
                <a:gdLst>
                  <a:gd name="connsiteX0" fmla="*/ 6350 w 6350"/>
                  <a:gd name="connsiteY0" fmla="*/ 3175 h 6350"/>
                  <a:gd name="connsiteX1" fmla="*/ 3175 w 6350"/>
                  <a:gd name="connsiteY1" fmla="*/ 5715 h 6350"/>
                  <a:gd name="connsiteX2" fmla="*/ 6350 w 6350"/>
                  <a:gd name="connsiteY2" fmla="*/ 317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6350" y="3175"/>
                    </a:moveTo>
                    <a:cubicBezTo>
                      <a:pt x="5080" y="4445"/>
                      <a:pt x="4445" y="5080"/>
                      <a:pt x="3175" y="5715"/>
                    </a:cubicBezTo>
                    <a:cubicBezTo>
                      <a:pt x="4445" y="5080"/>
                      <a:pt x="5715" y="4445"/>
                      <a:pt x="6350" y="317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9" name="任意多边形: 形状 318"/>
              <p:cNvSpPr/>
              <p:nvPr/>
            </p:nvSpPr>
            <p:spPr>
              <a:xfrm flipH="1">
                <a:off x="1959272" y="1142365"/>
                <a:ext cx="6350" cy="6350"/>
              </a:xfrm>
              <a:custGeom>
                <a:avLst/>
                <a:gdLst>
                  <a:gd name="connsiteX0" fmla="*/ 7620 w 6350"/>
                  <a:gd name="connsiteY0" fmla="*/ 5080 h 6350"/>
                  <a:gd name="connsiteX1" fmla="*/ 3175 w 6350"/>
                  <a:gd name="connsiteY1" fmla="*/ 3175 h 6350"/>
                  <a:gd name="connsiteX2" fmla="*/ 7620 w 6350"/>
                  <a:gd name="connsiteY2" fmla="*/ 508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7620" y="5080"/>
                    </a:moveTo>
                    <a:cubicBezTo>
                      <a:pt x="6350" y="4445"/>
                      <a:pt x="5080" y="3810"/>
                      <a:pt x="3175" y="3175"/>
                    </a:cubicBezTo>
                    <a:cubicBezTo>
                      <a:pt x="4445" y="4445"/>
                      <a:pt x="6350" y="4445"/>
                      <a:pt x="7620" y="5080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0" name="任意多边形: 形状 319"/>
              <p:cNvSpPr/>
              <p:nvPr/>
            </p:nvSpPr>
            <p:spPr>
              <a:xfrm flipH="1">
                <a:off x="1982767" y="1136015"/>
                <a:ext cx="6350" cy="6350"/>
              </a:xfrm>
              <a:custGeom>
                <a:avLst/>
                <a:gdLst>
                  <a:gd name="connsiteX0" fmla="*/ 7620 w 6350"/>
                  <a:gd name="connsiteY0" fmla="*/ 3810 h 6350"/>
                  <a:gd name="connsiteX1" fmla="*/ 3175 w 6350"/>
                  <a:gd name="connsiteY1" fmla="*/ 3175 h 6350"/>
                  <a:gd name="connsiteX2" fmla="*/ 7620 w 6350"/>
                  <a:gd name="connsiteY2" fmla="*/ 381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7620" y="3810"/>
                    </a:moveTo>
                    <a:cubicBezTo>
                      <a:pt x="6350" y="3175"/>
                      <a:pt x="4445" y="3175"/>
                      <a:pt x="3175" y="3175"/>
                    </a:cubicBezTo>
                    <a:cubicBezTo>
                      <a:pt x="4445" y="3175"/>
                      <a:pt x="6350" y="3175"/>
                      <a:pt x="7620" y="3810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1" name="任意多边形: 形状 320"/>
              <p:cNvSpPr/>
              <p:nvPr/>
            </p:nvSpPr>
            <p:spPr>
              <a:xfrm flipH="1">
                <a:off x="1971337" y="1138555"/>
                <a:ext cx="6350" cy="6350"/>
              </a:xfrm>
              <a:custGeom>
                <a:avLst/>
                <a:gdLst>
                  <a:gd name="connsiteX0" fmla="*/ 7620 w 6350"/>
                  <a:gd name="connsiteY0" fmla="*/ 4445 h 6350"/>
                  <a:gd name="connsiteX1" fmla="*/ 3175 w 6350"/>
                  <a:gd name="connsiteY1" fmla="*/ 3175 h 6350"/>
                  <a:gd name="connsiteX2" fmla="*/ 7620 w 6350"/>
                  <a:gd name="connsiteY2" fmla="*/ 4445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7620" y="4445"/>
                    </a:moveTo>
                    <a:cubicBezTo>
                      <a:pt x="6350" y="3810"/>
                      <a:pt x="4445" y="3810"/>
                      <a:pt x="3175" y="3175"/>
                    </a:cubicBezTo>
                    <a:cubicBezTo>
                      <a:pt x="4445" y="3810"/>
                      <a:pt x="6350" y="3810"/>
                      <a:pt x="7620" y="4445"/>
                    </a:cubicBezTo>
                    <a:close/>
                  </a:path>
                </a:pathLst>
              </a:custGeom>
              <a:solidFill>
                <a:srgbClr val="80B0D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2" name="任意多边形: 形状 321"/>
              <p:cNvSpPr/>
              <p:nvPr/>
            </p:nvSpPr>
            <p:spPr>
              <a:xfrm flipH="1">
                <a:off x="800080" y="378891"/>
                <a:ext cx="476250" cy="577850"/>
              </a:xfrm>
              <a:custGeom>
                <a:avLst/>
                <a:gdLst>
                  <a:gd name="connsiteX0" fmla="*/ 413068 w 476250"/>
                  <a:gd name="connsiteY0" fmla="*/ 361519 h 577850"/>
                  <a:gd name="connsiteX1" fmla="*/ 297498 w 476250"/>
                  <a:gd name="connsiteY1" fmla="*/ 186894 h 577850"/>
                  <a:gd name="connsiteX2" fmla="*/ 279718 w 476250"/>
                  <a:gd name="connsiteY2" fmla="*/ 178639 h 577850"/>
                  <a:gd name="connsiteX3" fmla="*/ 150813 w 476250"/>
                  <a:gd name="connsiteY3" fmla="*/ 26239 h 577850"/>
                  <a:gd name="connsiteX4" fmla="*/ 39053 w 476250"/>
                  <a:gd name="connsiteY4" fmla="*/ 15444 h 577850"/>
                  <a:gd name="connsiteX5" fmla="*/ 4763 w 476250"/>
                  <a:gd name="connsiteY5" fmla="*/ 35129 h 577850"/>
                  <a:gd name="connsiteX6" fmla="*/ 5398 w 476250"/>
                  <a:gd name="connsiteY6" fmla="*/ 34494 h 577850"/>
                  <a:gd name="connsiteX7" fmla="*/ 15558 w 476250"/>
                  <a:gd name="connsiteY7" fmla="*/ 29414 h 577850"/>
                  <a:gd name="connsiteX8" fmla="*/ 17463 w 476250"/>
                  <a:gd name="connsiteY8" fmla="*/ 28779 h 577850"/>
                  <a:gd name="connsiteX9" fmla="*/ 26988 w 476250"/>
                  <a:gd name="connsiteY9" fmla="*/ 26239 h 577850"/>
                  <a:gd name="connsiteX10" fmla="*/ 30798 w 476250"/>
                  <a:gd name="connsiteY10" fmla="*/ 25604 h 577850"/>
                  <a:gd name="connsiteX11" fmla="*/ 39053 w 476250"/>
                  <a:gd name="connsiteY11" fmla="*/ 24334 h 577850"/>
                  <a:gd name="connsiteX12" fmla="*/ 42863 w 476250"/>
                  <a:gd name="connsiteY12" fmla="*/ 24334 h 577850"/>
                  <a:gd name="connsiteX13" fmla="*/ 53023 w 476250"/>
                  <a:gd name="connsiteY13" fmla="*/ 24334 h 577850"/>
                  <a:gd name="connsiteX14" fmla="*/ 55563 w 476250"/>
                  <a:gd name="connsiteY14" fmla="*/ 24334 h 577850"/>
                  <a:gd name="connsiteX15" fmla="*/ 68898 w 476250"/>
                  <a:gd name="connsiteY15" fmla="*/ 26239 h 577850"/>
                  <a:gd name="connsiteX16" fmla="*/ 72708 w 476250"/>
                  <a:gd name="connsiteY16" fmla="*/ 26874 h 577850"/>
                  <a:gd name="connsiteX17" fmla="*/ 82868 w 476250"/>
                  <a:gd name="connsiteY17" fmla="*/ 30049 h 577850"/>
                  <a:gd name="connsiteX18" fmla="*/ 87313 w 476250"/>
                  <a:gd name="connsiteY18" fmla="*/ 31954 h 577850"/>
                  <a:gd name="connsiteX19" fmla="*/ 97473 w 476250"/>
                  <a:gd name="connsiteY19" fmla="*/ 35764 h 577850"/>
                  <a:gd name="connsiteX20" fmla="*/ 101918 w 476250"/>
                  <a:gd name="connsiteY20" fmla="*/ 37669 h 577850"/>
                  <a:gd name="connsiteX21" fmla="*/ 116523 w 476250"/>
                  <a:gd name="connsiteY21" fmla="*/ 45289 h 577850"/>
                  <a:gd name="connsiteX22" fmla="*/ 245428 w 476250"/>
                  <a:gd name="connsiteY22" fmla="*/ 197689 h 577850"/>
                  <a:gd name="connsiteX23" fmla="*/ 263208 w 476250"/>
                  <a:gd name="connsiteY23" fmla="*/ 205944 h 577850"/>
                  <a:gd name="connsiteX24" fmla="*/ 378778 w 476250"/>
                  <a:gd name="connsiteY24" fmla="*/ 380569 h 577850"/>
                  <a:gd name="connsiteX25" fmla="*/ 438468 w 476250"/>
                  <a:gd name="connsiteY25" fmla="*/ 515824 h 577850"/>
                  <a:gd name="connsiteX26" fmla="*/ 437833 w 476250"/>
                  <a:gd name="connsiteY26" fmla="*/ 526619 h 577850"/>
                  <a:gd name="connsiteX27" fmla="*/ 437198 w 476250"/>
                  <a:gd name="connsiteY27" fmla="*/ 529794 h 577850"/>
                  <a:gd name="connsiteX28" fmla="*/ 435928 w 476250"/>
                  <a:gd name="connsiteY28" fmla="*/ 536779 h 577850"/>
                  <a:gd name="connsiteX29" fmla="*/ 435293 w 476250"/>
                  <a:gd name="connsiteY29" fmla="*/ 539954 h 577850"/>
                  <a:gd name="connsiteX30" fmla="*/ 434023 w 476250"/>
                  <a:gd name="connsiteY30" fmla="*/ 545669 h 577850"/>
                  <a:gd name="connsiteX31" fmla="*/ 432753 w 476250"/>
                  <a:gd name="connsiteY31" fmla="*/ 548844 h 577850"/>
                  <a:gd name="connsiteX32" fmla="*/ 430848 w 476250"/>
                  <a:gd name="connsiteY32" fmla="*/ 553289 h 577850"/>
                  <a:gd name="connsiteX33" fmla="*/ 428943 w 476250"/>
                  <a:gd name="connsiteY33" fmla="*/ 556464 h 577850"/>
                  <a:gd name="connsiteX34" fmla="*/ 426403 w 476250"/>
                  <a:gd name="connsiteY34" fmla="*/ 560274 h 577850"/>
                  <a:gd name="connsiteX35" fmla="*/ 424498 w 476250"/>
                  <a:gd name="connsiteY35" fmla="*/ 562814 h 577850"/>
                  <a:gd name="connsiteX36" fmla="*/ 421958 w 476250"/>
                  <a:gd name="connsiteY36" fmla="*/ 565989 h 577850"/>
                  <a:gd name="connsiteX37" fmla="*/ 419418 w 476250"/>
                  <a:gd name="connsiteY37" fmla="*/ 568529 h 577850"/>
                  <a:gd name="connsiteX38" fmla="*/ 416243 w 476250"/>
                  <a:gd name="connsiteY38" fmla="*/ 571069 h 577850"/>
                  <a:gd name="connsiteX39" fmla="*/ 413703 w 476250"/>
                  <a:gd name="connsiteY39" fmla="*/ 572974 h 577850"/>
                  <a:gd name="connsiteX40" fmla="*/ 410528 w 476250"/>
                  <a:gd name="connsiteY40" fmla="*/ 574879 h 577850"/>
                  <a:gd name="connsiteX41" fmla="*/ 444818 w 476250"/>
                  <a:gd name="connsiteY41" fmla="*/ 555194 h 577850"/>
                  <a:gd name="connsiteX42" fmla="*/ 472123 w 476250"/>
                  <a:gd name="connsiteY42" fmla="*/ 494869 h 577850"/>
                  <a:gd name="connsiteX43" fmla="*/ 413068 w 476250"/>
                  <a:gd name="connsiteY43" fmla="*/ 361519 h 577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76250" h="577850">
                    <a:moveTo>
                      <a:pt x="413068" y="361519"/>
                    </a:moveTo>
                    <a:cubicBezTo>
                      <a:pt x="401638" y="293574"/>
                      <a:pt x="354013" y="219279"/>
                      <a:pt x="297498" y="186894"/>
                    </a:cubicBezTo>
                    <a:cubicBezTo>
                      <a:pt x="291783" y="183719"/>
                      <a:pt x="285433" y="180544"/>
                      <a:pt x="279718" y="178639"/>
                    </a:cubicBezTo>
                    <a:cubicBezTo>
                      <a:pt x="251778" y="115139"/>
                      <a:pt x="204153" y="57354"/>
                      <a:pt x="150813" y="26239"/>
                    </a:cubicBezTo>
                    <a:cubicBezTo>
                      <a:pt x="106998" y="839"/>
                      <a:pt x="67628" y="-1066"/>
                      <a:pt x="39053" y="15444"/>
                    </a:cubicBezTo>
                    <a:lnTo>
                      <a:pt x="4763" y="35129"/>
                    </a:lnTo>
                    <a:cubicBezTo>
                      <a:pt x="4763" y="35129"/>
                      <a:pt x="5398" y="35129"/>
                      <a:pt x="5398" y="34494"/>
                    </a:cubicBezTo>
                    <a:cubicBezTo>
                      <a:pt x="8573" y="32589"/>
                      <a:pt x="11748" y="31319"/>
                      <a:pt x="15558" y="29414"/>
                    </a:cubicBezTo>
                    <a:cubicBezTo>
                      <a:pt x="16193" y="29414"/>
                      <a:pt x="16828" y="28779"/>
                      <a:pt x="17463" y="28779"/>
                    </a:cubicBezTo>
                    <a:cubicBezTo>
                      <a:pt x="20638" y="27509"/>
                      <a:pt x="23813" y="26874"/>
                      <a:pt x="26988" y="26239"/>
                    </a:cubicBezTo>
                    <a:cubicBezTo>
                      <a:pt x="28258" y="26239"/>
                      <a:pt x="29528" y="25604"/>
                      <a:pt x="30798" y="25604"/>
                    </a:cubicBezTo>
                    <a:cubicBezTo>
                      <a:pt x="33338" y="24969"/>
                      <a:pt x="36513" y="24969"/>
                      <a:pt x="39053" y="24334"/>
                    </a:cubicBezTo>
                    <a:cubicBezTo>
                      <a:pt x="40323" y="24334"/>
                      <a:pt x="41593" y="24334"/>
                      <a:pt x="42863" y="24334"/>
                    </a:cubicBezTo>
                    <a:cubicBezTo>
                      <a:pt x="46038" y="24334"/>
                      <a:pt x="49213" y="24334"/>
                      <a:pt x="53023" y="24334"/>
                    </a:cubicBezTo>
                    <a:cubicBezTo>
                      <a:pt x="53658" y="24334"/>
                      <a:pt x="54928" y="24334"/>
                      <a:pt x="55563" y="24334"/>
                    </a:cubicBezTo>
                    <a:cubicBezTo>
                      <a:pt x="60008" y="24969"/>
                      <a:pt x="64453" y="25604"/>
                      <a:pt x="68898" y="26239"/>
                    </a:cubicBezTo>
                    <a:cubicBezTo>
                      <a:pt x="70168" y="26239"/>
                      <a:pt x="71438" y="26874"/>
                      <a:pt x="72708" y="26874"/>
                    </a:cubicBezTo>
                    <a:cubicBezTo>
                      <a:pt x="75883" y="27509"/>
                      <a:pt x="79693" y="28779"/>
                      <a:pt x="82868" y="30049"/>
                    </a:cubicBezTo>
                    <a:cubicBezTo>
                      <a:pt x="84138" y="30684"/>
                      <a:pt x="86043" y="31319"/>
                      <a:pt x="87313" y="31954"/>
                    </a:cubicBezTo>
                    <a:cubicBezTo>
                      <a:pt x="90488" y="33224"/>
                      <a:pt x="94298" y="34494"/>
                      <a:pt x="97473" y="35764"/>
                    </a:cubicBezTo>
                    <a:cubicBezTo>
                      <a:pt x="98743" y="36399"/>
                      <a:pt x="100648" y="37034"/>
                      <a:pt x="101918" y="37669"/>
                    </a:cubicBezTo>
                    <a:cubicBezTo>
                      <a:pt x="106998" y="40209"/>
                      <a:pt x="111443" y="42749"/>
                      <a:pt x="116523" y="45289"/>
                    </a:cubicBezTo>
                    <a:cubicBezTo>
                      <a:pt x="169863" y="76404"/>
                      <a:pt x="217488" y="134189"/>
                      <a:pt x="245428" y="197689"/>
                    </a:cubicBezTo>
                    <a:cubicBezTo>
                      <a:pt x="251143" y="200229"/>
                      <a:pt x="256858" y="202769"/>
                      <a:pt x="263208" y="205944"/>
                    </a:cubicBezTo>
                    <a:cubicBezTo>
                      <a:pt x="320358" y="238964"/>
                      <a:pt x="367983" y="312624"/>
                      <a:pt x="378778" y="380569"/>
                    </a:cubicBezTo>
                    <a:cubicBezTo>
                      <a:pt x="413703" y="416764"/>
                      <a:pt x="438468" y="470104"/>
                      <a:pt x="438468" y="515824"/>
                    </a:cubicBezTo>
                    <a:cubicBezTo>
                      <a:pt x="438468" y="519634"/>
                      <a:pt x="438468" y="522809"/>
                      <a:pt x="437833" y="526619"/>
                    </a:cubicBezTo>
                    <a:cubicBezTo>
                      <a:pt x="437833" y="527889"/>
                      <a:pt x="437198" y="528524"/>
                      <a:pt x="437198" y="529794"/>
                    </a:cubicBezTo>
                    <a:cubicBezTo>
                      <a:pt x="437198" y="532334"/>
                      <a:pt x="436563" y="534239"/>
                      <a:pt x="435928" y="536779"/>
                    </a:cubicBezTo>
                    <a:cubicBezTo>
                      <a:pt x="435928" y="538049"/>
                      <a:pt x="435293" y="539319"/>
                      <a:pt x="435293" y="539954"/>
                    </a:cubicBezTo>
                    <a:cubicBezTo>
                      <a:pt x="434658" y="541859"/>
                      <a:pt x="434658" y="543764"/>
                      <a:pt x="434023" y="545669"/>
                    </a:cubicBezTo>
                    <a:cubicBezTo>
                      <a:pt x="433388" y="546939"/>
                      <a:pt x="433388" y="548209"/>
                      <a:pt x="432753" y="548844"/>
                    </a:cubicBezTo>
                    <a:cubicBezTo>
                      <a:pt x="432118" y="550114"/>
                      <a:pt x="431483" y="552019"/>
                      <a:pt x="430848" y="553289"/>
                    </a:cubicBezTo>
                    <a:cubicBezTo>
                      <a:pt x="430213" y="554559"/>
                      <a:pt x="429578" y="555194"/>
                      <a:pt x="428943" y="556464"/>
                    </a:cubicBezTo>
                    <a:cubicBezTo>
                      <a:pt x="428308" y="557734"/>
                      <a:pt x="427673" y="559004"/>
                      <a:pt x="426403" y="560274"/>
                    </a:cubicBezTo>
                    <a:cubicBezTo>
                      <a:pt x="425768" y="561544"/>
                      <a:pt x="425133" y="562179"/>
                      <a:pt x="424498" y="562814"/>
                    </a:cubicBezTo>
                    <a:cubicBezTo>
                      <a:pt x="423863" y="564084"/>
                      <a:pt x="422593" y="565354"/>
                      <a:pt x="421958" y="565989"/>
                    </a:cubicBezTo>
                    <a:cubicBezTo>
                      <a:pt x="421323" y="566624"/>
                      <a:pt x="420053" y="567259"/>
                      <a:pt x="419418" y="568529"/>
                    </a:cubicBezTo>
                    <a:cubicBezTo>
                      <a:pt x="418148" y="569799"/>
                      <a:pt x="417513" y="570434"/>
                      <a:pt x="416243" y="571069"/>
                    </a:cubicBezTo>
                    <a:cubicBezTo>
                      <a:pt x="415608" y="571704"/>
                      <a:pt x="414338" y="572339"/>
                      <a:pt x="413703" y="572974"/>
                    </a:cubicBezTo>
                    <a:cubicBezTo>
                      <a:pt x="412433" y="573609"/>
                      <a:pt x="411798" y="574244"/>
                      <a:pt x="410528" y="574879"/>
                    </a:cubicBezTo>
                    <a:lnTo>
                      <a:pt x="444818" y="555194"/>
                    </a:lnTo>
                    <a:cubicBezTo>
                      <a:pt x="461963" y="545669"/>
                      <a:pt x="472123" y="524714"/>
                      <a:pt x="472123" y="494869"/>
                    </a:cubicBezTo>
                    <a:cubicBezTo>
                      <a:pt x="472758" y="451054"/>
                      <a:pt x="447993" y="397714"/>
                      <a:pt x="413068" y="361519"/>
                    </a:cubicBezTo>
                    <a:close/>
                  </a:path>
                </a:pathLst>
              </a:custGeom>
              <a:solidFill>
                <a:srgbClr val="B2B5C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3" name="任意多边形: 形状 322"/>
              <p:cNvSpPr/>
              <p:nvPr/>
            </p:nvSpPr>
            <p:spPr>
              <a:xfrm flipH="1">
                <a:off x="838180" y="400368"/>
                <a:ext cx="603250" cy="565150"/>
              </a:xfrm>
              <a:custGeom>
                <a:avLst/>
                <a:gdLst>
                  <a:gd name="connsiteX0" fmla="*/ 584518 w 603250"/>
                  <a:gd name="connsiteY0" fmla="*/ 548958 h 565150"/>
                  <a:gd name="connsiteX1" fmla="*/ 587058 w 603250"/>
                  <a:gd name="connsiteY1" fmla="*/ 546418 h 565150"/>
                  <a:gd name="connsiteX2" fmla="*/ 589598 w 603250"/>
                  <a:gd name="connsiteY2" fmla="*/ 543243 h 565150"/>
                  <a:gd name="connsiteX3" fmla="*/ 591503 w 603250"/>
                  <a:gd name="connsiteY3" fmla="*/ 540703 h 565150"/>
                  <a:gd name="connsiteX4" fmla="*/ 594043 w 603250"/>
                  <a:gd name="connsiteY4" fmla="*/ 536893 h 565150"/>
                  <a:gd name="connsiteX5" fmla="*/ 595948 w 603250"/>
                  <a:gd name="connsiteY5" fmla="*/ 533718 h 565150"/>
                  <a:gd name="connsiteX6" fmla="*/ 597853 w 603250"/>
                  <a:gd name="connsiteY6" fmla="*/ 529273 h 565150"/>
                  <a:gd name="connsiteX7" fmla="*/ 599123 w 603250"/>
                  <a:gd name="connsiteY7" fmla="*/ 526098 h 565150"/>
                  <a:gd name="connsiteX8" fmla="*/ 600393 w 603250"/>
                  <a:gd name="connsiteY8" fmla="*/ 520383 h 565150"/>
                  <a:gd name="connsiteX9" fmla="*/ 601028 w 603250"/>
                  <a:gd name="connsiteY9" fmla="*/ 517208 h 565150"/>
                  <a:gd name="connsiteX10" fmla="*/ 602298 w 603250"/>
                  <a:gd name="connsiteY10" fmla="*/ 510223 h 565150"/>
                  <a:gd name="connsiteX11" fmla="*/ 602933 w 603250"/>
                  <a:gd name="connsiteY11" fmla="*/ 507048 h 565150"/>
                  <a:gd name="connsiteX12" fmla="*/ 603568 w 603250"/>
                  <a:gd name="connsiteY12" fmla="*/ 496253 h 565150"/>
                  <a:gd name="connsiteX13" fmla="*/ 543878 w 603250"/>
                  <a:gd name="connsiteY13" fmla="*/ 360998 h 565150"/>
                  <a:gd name="connsiteX14" fmla="*/ 428308 w 603250"/>
                  <a:gd name="connsiteY14" fmla="*/ 186372 h 565150"/>
                  <a:gd name="connsiteX15" fmla="*/ 410528 w 603250"/>
                  <a:gd name="connsiteY15" fmla="*/ 178117 h 565150"/>
                  <a:gd name="connsiteX16" fmla="*/ 281623 w 603250"/>
                  <a:gd name="connsiteY16" fmla="*/ 25717 h 565150"/>
                  <a:gd name="connsiteX17" fmla="*/ 267018 w 603250"/>
                  <a:gd name="connsiteY17" fmla="*/ 18097 h 565150"/>
                  <a:gd name="connsiteX18" fmla="*/ 262573 w 603250"/>
                  <a:gd name="connsiteY18" fmla="*/ 16192 h 565150"/>
                  <a:gd name="connsiteX19" fmla="*/ 252413 w 603250"/>
                  <a:gd name="connsiteY19" fmla="*/ 12382 h 565150"/>
                  <a:gd name="connsiteX20" fmla="*/ 247968 w 603250"/>
                  <a:gd name="connsiteY20" fmla="*/ 10478 h 565150"/>
                  <a:gd name="connsiteX21" fmla="*/ 237808 w 603250"/>
                  <a:gd name="connsiteY21" fmla="*/ 7303 h 565150"/>
                  <a:gd name="connsiteX22" fmla="*/ 233998 w 603250"/>
                  <a:gd name="connsiteY22" fmla="*/ 6667 h 565150"/>
                  <a:gd name="connsiteX23" fmla="*/ 220663 w 603250"/>
                  <a:gd name="connsiteY23" fmla="*/ 4763 h 565150"/>
                  <a:gd name="connsiteX24" fmla="*/ 218123 w 603250"/>
                  <a:gd name="connsiteY24" fmla="*/ 4763 h 565150"/>
                  <a:gd name="connsiteX25" fmla="*/ 207963 w 603250"/>
                  <a:gd name="connsiteY25" fmla="*/ 4763 h 565150"/>
                  <a:gd name="connsiteX26" fmla="*/ 204153 w 603250"/>
                  <a:gd name="connsiteY26" fmla="*/ 4763 h 565150"/>
                  <a:gd name="connsiteX27" fmla="*/ 195898 w 603250"/>
                  <a:gd name="connsiteY27" fmla="*/ 6032 h 565150"/>
                  <a:gd name="connsiteX28" fmla="*/ 192088 w 603250"/>
                  <a:gd name="connsiteY28" fmla="*/ 6667 h 565150"/>
                  <a:gd name="connsiteX29" fmla="*/ 182563 w 603250"/>
                  <a:gd name="connsiteY29" fmla="*/ 9207 h 565150"/>
                  <a:gd name="connsiteX30" fmla="*/ 180658 w 603250"/>
                  <a:gd name="connsiteY30" fmla="*/ 9842 h 565150"/>
                  <a:gd name="connsiteX31" fmla="*/ 170498 w 603250"/>
                  <a:gd name="connsiteY31" fmla="*/ 14922 h 565150"/>
                  <a:gd name="connsiteX32" fmla="*/ 150178 w 603250"/>
                  <a:gd name="connsiteY32" fmla="*/ 31433 h 565150"/>
                  <a:gd name="connsiteX33" fmla="*/ 132398 w 603250"/>
                  <a:gd name="connsiteY33" fmla="*/ 61278 h 565150"/>
                  <a:gd name="connsiteX34" fmla="*/ 123508 w 603250"/>
                  <a:gd name="connsiteY34" fmla="*/ 55562 h 565150"/>
                  <a:gd name="connsiteX35" fmla="*/ 111443 w 603250"/>
                  <a:gd name="connsiteY35" fmla="*/ 49212 h 565150"/>
                  <a:gd name="connsiteX36" fmla="*/ 106998 w 603250"/>
                  <a:gd name="connsiteY36" fmla="*/ 47308 h 565150"/>
                  <a:gd name="connsiteX37" fmla="*/ 99378 w 603250"/>
                  <a:gd name="connsiteY37" fmla="*/ 44133 h 565150"/>
                  <a:gd name="connsiteX38" fmla="*/ 94933 w 603250"/>
                  <a:gd name="connsiteY38" fmla="*/ 42862 h 565150"/>
                  <a:gd name="connsiteX39" fmla="*/ 87948 w 603250"/>
                  <a:gd name="connsiteY39" fmla="*/ 40958 h 565150"/>
                  <a:gd name="connsiteX40" fmla="*/ 83503 w 603250"/>
                  <a:gd name="connsiteY40" fmla="*/ 40322 h 565150"/>
                  <a:gd name="connsiteX41" fmla="*/ 77153 w 603250"/>
                  <a:gd name="connsiteY41" fmla="*/ 39053 h 565150"/>
                  <a:gd name="connsiteX42" fmla="*/ 72708 w 603250"/>
                  <a:gd name="connsiteY42" fmla="*/ 39053 h 565150"/>
                  <a:gd name="connsiteX43" fmla="*/ 66993 w 603250"/>
                  <a:gd name="connsiteY43" fmla="*/ 39053 h 565150"/>
                  <a:gd name="connsiteX44" fmla="*/ 62548 w 603250"/>
                  <a:gd name="connsiteY44" fmla="*/ 39687 h 565150"/>
                  <a:gd name="connsiteX45" fmla="*/ 57468 w 603250"/>
                  <a:gd name="connsiteY45" fmla="*/ 40322 h 565150"/>
                  <a:gd name="connsiteX46" fmla="*/ 53023 w 603250"/>
                  <a:gd name="connsiteY46" fmla="*/ 41592 h 565150"/>
                  <a:gd name="connsiteX47" fmla="*/ 47943 w 603250"/>
                  <a:gd name="connsiteY47" fmla="*/ 42862 h 565150"/>
                  <a:gd name="connsiteX48" fmla="*/ 44133 w 603250"/>
                  <a:gd name="connsiteY48" fmla="*/ 44767 h 565150"/>
                  <a:gd name="connsiteX49" fmla="*/ 39688 w 603250"/>
                  <a:gd name="connsiteY49" fmla="*/ 46672 h 565150"/>
                  <a:gd name="connsiteX50" fmla="*/ 4763 w 603250"/>
                  <a:gd name="connsiteY50" fmla="*/ 122872 h 565150"/>
                  <a:gd name="connsiteX51" fmla="*/ 123508 w 603250"/>
                  <a:gd name="connsiteY51" fmla="*/ 327978 h 565150"/>
                  <a:gd name="connsiteX52" fmla="*/ 508953 w 603250"/>
                  <a:gd name="connsiteY52" fmla="*/ 550862 h 565150"/>
                  <a:gd name="connsiteX53" fmla="*/ 578803 w 603250"/>
                  <a:gd name="connsiteY53" fmla="*/ 555308 h 565150"/>
                  <a:gd name="connsiteX54" fmla="*/ 581343 w 603250"/>
                  <a:gd name="connsiteY54" fmla="*/ 553403 h 565150"/>
                  <a:gd name="connsiteX55" fmla="*/ 584518 w 603250"/>
                  <a:gd name="connsiteY55" fmla="*/ 548958 h 565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603250" h="565150">
                    <a:moveTo>
                      <a:pt x="584518" y="548958"/>
                    </a:moveTo>
                    <a:cubicBezTo>
                      <a:pt x="585153" y="548323"/>
                      <a:pt x="586423" y="547687"/>
                      <a:pt x="587058" y="546418"/>
                    </a:cubicBezTo>
                    <a:cubicBezTo>
                      <a:pt x="587693" y="545148"/>
                      <a:pt x="588963" y="543878"/>
                      <a:pt x="589598" y="543243"/>
                    </a:cubicBezTo>
                    <a:cubicBezTo>
                      <a:pt x="590233" y="542608"/>
                      <a:pt x="590868" y="541337"/>
                      <a:pt x="591503" y="540703"/>
                    </a:cubicBezTo>
                    <a:cubicBezTo>
                      <a:pt x="592138" y="539433"/>
                      <a:pt x="592773" y="538162"/>
                      <a:pt x="594043" y="536893"/>
                    </a:cubicBezTo>
                    <a:cubicBezTo>
                      <a:pt x="594678" y="535623"/>
                      <a:pt x="595313" y="534987"/>
                      <a:pt x="595948" y="533718"/>
                    </a:cubicBezTo>
                    <a:cubicBezTo>
                      <a:pt x="596583" y="532448"/>
                      <a:pt x="597218" y="530543"/>
                      <a:pt x="597853" y="529273"/>
                    </a:cubicBezTo>
                    <a:cubicBezTo>
                      <a:pt x="598488" y="528003"/>
                      <a:pt x="598488" y="527368"/>
                      <a:pt x="599123" y="526098"/>
                    </a:cubicBezTo>
                    <a:cubicBezTo>
                      <a:pt x="599758" y="524192"/>
                      <a:pt x="600393" y="522287"/>
                      <a:pt x="600393" y="520383"/>
                    </a:cubicBezTo>
                    <a:cubicBezTo>
                      <a:pt x="600393" y="519112"/>
                      <a:pt x="601028" y="517842"/>
                      <a:pt x="601028" y="517208"/>
                    </a:cubicBezTo>
                    <a:cubicBezTo>
                      <a:pt x="601663" y="515303"/>
                      <a:pt x="601663" y="512762"/>
                      <a:pt x="602298" y="510223"/>
                    </a:cubicBezTo>
                    <a:cubicBezTo>
                      <a:pt x="602298" y="508953"/>
                      <a:pt x="602933" y="508317"/>
                      <a:pt x="602933" y="507048"/>
                    </a:cubicBezTo>
                    <a:cubicBezTo>
                      <a:pt x="603568" y="503873"/>
                      <a:pt x="603568" y="500062"/>
                      <a:pt x="603568" y="496253"/>
                    </a:cubicBezTo>
                    <a:cubicBezTo>
                      <a:pt x="603568" y="450533"/>
                      <a:pt x="578803" y="397192"/>
                      <a:pt x="543878" y="360998"/>
                    </a:cubicBezTo>
                    <a:cubicBezTo>
                      <a:pt x="532448" y="293053"/>
                      <a:pt x="484823" y="218758"/>
                      <a:pt x="428308" y="186372"/>
                    </a:cubicBezTo>
                    <a:cubicBezTo>
                      <a:pt x="422593" y="183197"/>
                      <a:pt x="416243" y="180022"/>
                      <a:pt x="410528" y="178117"/>
                    </a:cubicBezTo>
                    <a:cubicBezTo>
                      <a:pt x="382588" y="114617"/>
                      <a:pt x="334963" y="56833"/>
                      <a:pt x="281623" y="25717"/>
                    </a:cubicBezTo>
                    <a:cubicBezTo>
                      <a:pt x="276543" y="22542"/>
                      <a:pt x="271463" y="20638"/>
                      <a:pt x="267018" y="18097"/>
                    </a:cubicBezTo>
                    <a:cubicBezTo>
                      <a:pt x="265748" y="17463"/>
                      <a:pt x="263843" y="16828"/>
                      <a:pt x="262573" y="16192"/>
                    </a:cubicBezTo>
                    <a:cubicBezTo>
                      <a:pt x="259398" y="14922"/>
                      <a:pt x="255588" y="13653"/>
                      <a:pt x="252413" y="12382"/>
                    </a:cubicBezTo>
                    <a:cubicBezTo>
                      <a:pt x="251143" y="11747"/>
                      <a:pt x="249238" y="11113"/>
                      <a:pt x="247968" y="10478"/>
                    </a:cubicBezTo>
                    <a:cubicBezTo>
                      <a:pt x="244793" y="9207"/>
                      <a:pt x="240983" y="8572"/>
                      <a:pt x="237808" y="7303"/>
                    </a:cubicBezTo>
                    <a:cubicBezTo>
                      <a:pt x="236538" y="7303"/>
                      <a:pt x="235268" y="6667"/>
                      <a:pt x="233998" y="6667"/>
                    </a:cubicBezTo>
                    <a:cubicBezTo>
                      <a:pt x="229553" y="6032"/>
                      <a:pt x="225108" y="4763"/>
                      <a:pt x="220663" y="4763"/>
                    </a:cubicBezTo>
                    <a:cubicBezTo>
                      <a:pt x="220028" y="4763"/>
                      <a:pt x="218758" y="4763"/>
                      <a:pt x="218123" y="4763"/>
                    </a:cubicBezTo>
                    <a:cubicBezTo>
                      <a:pt x="214948" y="4763"/>
                      <a:pt x="211138" y="4763"/>
                      <a:pt x="207963" y="4763"/>
                    </a:cubicBezTo>
                    <a:cubicBezTo>
                      <a:pt x="206693" y="4763"/>
                      <a:pt x="205423" y="4763"/>
                      <a:pt x="204153" y="4763"/>
                    </a:cubicBezTo>
                    <a:cubicBezTo>
                      <a:pt x="201613" y="4763"/>
                      <a:pt x="198438" y="5397"/>
                      <a:pt x="195898" y="6032"/>
                    </a:cubicBezTo>
                    <a:cubicBezTo>
                      <a:pt x="194628" y="6032"/>
                      <a:pt x="193358" y="6667"/>
                      <a:pt x="192088" y="6667"/>
                    </a:cubicBezTo>
                    <a:cubicBezTo>
                      <a:pt x="188913" y="7303"/>
                      <a:pt x="185738" y="8572"/>
                      <a:pt x="182563" y="9207"/>
                    </a:cubicBezTo>
                    <a:cubicBezTo>
                      <a:pt x="181928" y="9207"/>
                      <a:pt x="181293" y="9207"/>
                      <a:pt x="180658" y="9842"/>
                    </a:cubicBezTo>
                    <a:cubicBezTo>
                      <a:pt x="176848" y="11113"/>
                      <a:pt x="173673" y="13017"/>
                      <a:pt x="170498" y="14922"/>
                    </a:cubicBezTo>
                    <a:cubicBezTo>
                      <a:pt x="162878" y="19367"/>
                      <a:pt x="156528" y="24447"/>
                      <a:pt x="150178" y="31433"/>
                    </a:cubicBezTo>
                    <a:cubicBezTo>
                      <a:pt x="143193" y="39687"/>
                      <a:pt x="136843" y="49212"/>
                      <a:pt x="132398" y="61278"/>
                    </a:cubicBezTo>
                    <a:cubicBezTo>
                      <a:pt x="129223" y="59372"/>
                      <a:pt x="126683" y="57467"/>
                      <a:pt x="123508" y="55562"/>
                    </a:cubicBezTo>
                    <a:cubicBezTo>
                      <a:pt x="119698" y="53022"/>
                      <a:pt x="115253" y="51117"/>
                      <a:pt x="111443" y="49212"/>
                    </a:cubicBezTo>
                    <a:cubicBezTo>
                      <a:pt x="110173" y="48578"/>
                      <a:pt x="108903" y="47942"/>
                      <a:pt x="106998" y="47308"/>
                    </a:cubicBezTo>
                    <a:cubicBezTo>
                      <a:pt x="104458" y="46037"/>
                      <a:pt x="101918" y="45403"/>
                      <a:pt x="99378" y="44133"/>
                    </a:cubicBezTo>
                    <a:cubicBezTo>
                      <a:pt x="98108" y="43497"/>
                      <a:pt x="96203" y="43497"/>
                      <a:pt x="94933" y="42862"/>
                    </a:cubicBezTo>
                    <a:cubicBezTo>
                      <a:pt x="92393" y="42228"/>
                      <a:pt x="90488" y="41592"/>
                      <a:pt x="87948" y="40958"/>
                    </a:cubicBezTo>
                    <a:cubicBezTo>
                      <a:pt x="86678" y="40322"/>
                      <a:pt x="84773" y="40322"/>
                      <a:pt x="83503" y="40322"/>
                    </a:cubicBezTo>
                    <a:cubicBezTo>
                      <a:pt x="81598" y="39687"/>
                      <a:pt x="79058" y="39687"/>
                      <a:pt x="77153" y="39053"/>
                    </a:cubicBezTo>
                    <a:cubicBezTo>
                      <a:pt x="75883" y="39053"/>
                      <a:pt x="73978" y="39053"/>
                      <a:pt x="72708" y="39053"/>
                    </a:cubicBezTo>
                    <a:cubicBezTo>
                      <a:pt x="70803" y="39053"/>
                      <a:pt x="68898" y="39053"/>
                      <a:pt x="66993" y="39053"/>
                    </a:cubicBezTo>
                    <a:cubicBezTo>
                      <a:pt x="65723" y="39053"/>
                      <a:pt x="63818" y="39687"/>
                      <a:pt x="62548" y="39687"/>
                    </a:cubicBezTo>
                    <a:cubicBezTo>
                      <a:pt x="60643" y="39687"/>
                      <a:pt x="58738" y="40322"/>
                      <a:pt x="57468" y="40322"/>
                    </a:cubicBezTo>
                    <a:cubicBezTo>
                      <a:pt x="56198" y="40322"/>
                      <a:pt x="54928" y="40958"/>
                      <a:pt x="53023" y="41592"/>
                    </a:cubicBezTo>
                    <a:cubicBezTo>
                      <a:pt x="51118" y="42228"/>
                      <a:pt x="49848" y="42228"/>
                      <a:pt x="47943" y="42862"/>
                    </a:cubicBezTo>
                    <a:cubicBezTo>
                      <a:pt x="46673" y="43497"/>
                      <a:pt x="45403" y="44133"/>
                      <a:pt x="44133" y="44767"/>
                    </a:cubicBezTo>
                    <a:cubicBezTo>
                      <a:pt x="42863" y="45403"/>
                      <a:pt x="40958" y="46037"/>
                      <a:pt x="39688" y="46672"/>
                    </a:cubicBezTo>
                    <a:cubicBezTo>
                      <a:pt x="18098" y="58737"/>
                      <a:pt x="4763" y="85408"/>
                      <a:pt x="4763" y="122872"/>
                    </a:cubicBezTo>
                    <a:cubicBezTo>
                      <a:pt x="4763" y="198437"/>
                      <a:pt x="57468" y="289878"/>
                      <a:pt x="123508" y="327978"/>
                    </a:cubicBezTo>
                    <a:lnTo>
                      <a:pt x="508953" y="550862"/>
                    </a:lnTo>
                    <a:cubicBezTo>
                      <a:pt x="536893" y="566737"/>
                      <a:pt x="561658" y="567373"/>
                      <a:pt x="578803" y="555308"/>
                    </a:cubicBezTo>
                    <a:cubicBezTo>
                      <a:pt x="579438" y="554673"/>
                      <a:pt x="580708" y="554037"/>
                      <a:pt x="581343" y="553403"/>
                    </a:cubicBezTo>
                    <a:cubicBezTo>
                      <a:pt x="582613" y="550862"/>
                      <a:pt x="583883" y="549593"/>
                      <a:pt x="584518" y="54895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dirty="0"/>
              </a:p>
            </p:txBody>
          </p:sp>
          <p:sp>
            <p:nvSpPr>
              <p:cNvPr id="324" name="任意多边形: 形状 323"/>
              <p:cNvSpPr/>
              <p:nvPr/>
            </p:nvSpPr>
            <p:spPr>
              <a:xfrm flipH="1">
                <a:off x="3780134" y="902295"/>
                <a:ext cx="222250" cy="266700"/>
              </a:xfrm>
              <a:custGeom>
                <a:avLst/>
                <a:gdLst>
                  <a:gd name="connsiteX0" fmla="*/ 189547 w 222250"/>
                  <a:gd name="connsiteY0" fmla="*/ 167045 h 266700"/>
                  <a:gd name="connsiteX1" fmla="*/ 136842 w 222250"/>
                  <a:gd name="connsiteY1" fmla="*/ 87670 h 266700"/>
                  <a:gd name="connsiteX2" fmla="*/ 129222 w 222250"/>
                  <a:gd name="connsiteY2" fmla="*/ 83860 h 266700"/>
                  <a:gd name="connsiteX3" fmla="*/ 70803 w 222250"/>
                  <a:gd name="connsiteY3" fmla="*/ 14645 h 266700"/>
                  <a:gd name="connsiteX4" fmla="*/ 20003 w 222250"/>
                  <a:gd name="connsiteY4" fmla="*/ 9565 h 266700"/>
                  <a:gd name="connsiteX5" fmla="*/ 4763 w 222250"/>
                  <a:gd name="connsiteY5" fmla="*/ 18455 h 266700"/>
                  <a:gd name="connsiteX6" fmla="*/ 5397 w 222250"/>
                  <a:gd name="connsiteY6" fmla="*/ 18455 h 266700"/>
                  <a:gd name="connsiteX7" fmla="*/ 9842 w 222250"/>
                  <a:gd name="connsiteY7" fmla="*/ 16550 h 266700"/>
                  <a:gd name="connsiteX8" fmla="*/ 10478 w 222250"/>
                  <a:gd name="connsiteY8" fmla="*/ 16550 h 266700"/>
                  <a:gd name="connsiteX9" fmla="*/ 14922 w 222250"/>
                  <a:gd name="connsiteY9" fmla="*/ 15280 h 266700"/>
                  <a:gd name="connsiteX10" fmla="*/ 16828 w 222250"/>
                  <a:gd name="connsiteY10" fmla="*/ 15280 h 266700"/>
                  <a:gd name="connsiteX11" fmla="*/ 20638 w 222250"/>
                  <a:gd name="connsiteY11" fmla="*/ 14645 h 266700"/>
                  <a:gd name="connsiteX12" fmla="*/ 22542 w 222250"/>
                  <a:gd name="connsiteY12" fmla="*/ 14645 h 266700"/>
                  <a:gd name="connsiteX13" fmla="*/ 26988 w 222250"/>
                  <a:gd name="connsiteY13" fmla="*/ 14645 h 266700"/>
                  <a:gd name="connsiteX14" fmla="*/ 28257 w 222250"/>
                  <a:gd name="connsiteY14" fmla="*/ 14645 h 266700"/>
                  <a:gd name="connsiteX15" fmla="*/ 33972 w 222250"/>
                  <a:gd name="connsiteY15" fmla="*/ 15280 h 266700"/>
                  <a:gd name="connsiteX16" fmla="*/ 35878 w 222250"/>
                  <a:gd name="connsiteY16" fmla="*/ 15915 h 266700"/>
                  <a:gd name="connsiteX17" fmla="*/ 40322 w 222250"/>
                  <a:gd name="connsiteY17" fmla="*/ 17185 h 266700"/>
                  <a:gd name="connsiteX18" fmla="*/ 42228 w 222250"/>
                  <a:gd name="connsiteY18" fmla="*/ 17820 h 266700"/>
                  <a:gd name="connsiteX19" fmla="*/ 46672 w 222250"/>
                  <a:gd name="connsiteY19" fmla="*/ 19725 h 266700"/>
                  <a:gd name="connsiteX20" fmla="*/ 48578 w 222250"/>
                  <a:gd name="connsiteY20" fmla="*/ 20360 h 266700"/>
                  <a:gd name="connsiteX21" fmla="*/ 55563 w 222250"/>
                  <a:gd name="connsiteY21" fmla="*/ 23535 h 266700"/>
                  <a:gd name="connsiteX22" fmla="*/ 113982 w 222250"/>
                  <a:gd name="connsiteY22" fmla="*/ 92750 h 266700"/>
                  <a:gd name="connsiteX23" fmla="*/ 121603 w 222250"/>
                  <a:gd name="connsiteY23" fmla="*/ 96560 h 266700"/>
                  <a:gd name="connsiteX24" fmla="*/ 174307 w 222250"/>
                  <a:gd name="connsiteY24" fmla="*/ 175935 h 266700"/>
                  <a:gd name="connsiteX25" fmla="*/ 201613 w 222250"/>
                  <a:gd name="connsiteY25" fmla="*/ 237530 h 266700"/>
                  <a:gd name="connsiteX26" fmla="*/ 201613 w 222250"/>
                  <a:gd name="connsiteY26" fmla="*/ 242610 h 266700"/>
                  <a:gd name="connsiteX27" fmla="*/ 201613 w 222250"/>
                  <a:gd name="connsiteY27" fmla="*/ 243880 h 266700"/>
                  <a:gd name="connsiteX28" fmla="*/ 200978 w 222250"/>
                  <a:gd name="connsiteY28" fmla="*/ 247055 h 266700"/>
                  <a:gd name="connsiteX29" fmla="*/ 200342 w 222250"/>
                  <a:gd name="connsiteY29" fmla="*/ 248325 h 266700"/>
                  <a:gd name="connsiteX30" fmla="*/ 199707 w 222250"/>
                  <a:gd name="connsiteY30" fmla="*/ 250865 h 266700"/>
                  <a:gd name="connsiteX31" fmla="*/ 199072 w 222250"/>
                  <a:gd name="connsiteY31" fmla="*/ 252135 h 266700"/>
                  <a:gd name="connsiteX32" fmla="*/ 198438 w 222250"/>
                  <a:gd name="connsiteY32" fmla="*/ 254040 h 266700"/>
                  <a:gd name="connsiteX33" fmla="*/ 197803 w 222250"/>
                  <a:gd name="connsiteY33" fmla="*/ 255310 h 266700"/>
                  <a:gd name="connsiteX34" fmla="*/ 196532 w 222250"/>
                  <a:gd name="connsiteY34" fmla="*/ 257215 h 266700"/>
                  <a:gd name="connsiteX35" fmla="*/ 195897 w 222250"/>
                  <a:gd name="connsiteY35" fmla="*/ 258485 h 266700"/>
                  <a:gd name="connsiteX36" fmla="*/ 194628 w 222250"/>
                  <a:gd name="connsiteY36" fmla="*/ 259755 h 266700"/>
                  <a:gd name="connsiteX37" fmla="*/ 193357 w 222250"/>
                  <a:gd name="connsiteY37" fmla="*/ 261025 h 266700"/>
                  <a:gd name="connsiteX38" fmla="*/ 192088 w 222250"/>
                  <a:gd name="connsiteY38" fmla="*/ 262295 h 266700"/>
                  <a:gd name="connsiteX39" fmla="*/ 190817 w 222250"/>
                  <a:gd name="connsiteY39" fmla="*/ 262930 h 266700"/>
                  <a:gd name="connsiteX40" fmla="*/ 189547 w 222250"/>
                  <a:gd name="connsiteY40" fmla="*/ 264200 h 266700"/>
                  <a:gd name="connsiteX41" fmla="*/ 204788 w 222250"/>
                  <a:gd name="connsiteY41" fmla="*/ 255310 h 266700"/>
                  <a:gd name="connsiteX42" fmla="*/ 217488 w 222250"/>
                  <a:gd name="connsiteY42" fmla="*/ 228005 h 266700"/>
                  <a:gd name="connsiteX43" fmla="*/ 189547 w 222250"/>
                  <a:gd name="connsiteY43" fmla="*/ 167045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222250" h="266700">
                    <a:moveTo>
                      <a:pt x="189547" y="167045"/>
                    </a:moveTo>
                    <a:cubicBezTo>
                      <a:pt x="184467" y="135930"/>
                      <a:pt x="162878" y="102910"/>
                      <a:pt x="136842" y="87670"/>
                    </a:cubicBezTo>
                    <a:cubicBezTo>
                      <a:pt x="134303" y="86400"/>
                      <a:pt x="131763" y="85130"/>
                      <a:pt x="129222" y="83860"/>
                    </a:cubicBezTo>
                    <a:cubicBezTo>
                      <a:pt x="116522" y="55285"/>
                      <a:pt x="94932" y="28615"/>
                      <a:pt x="70803" y="14645"/>
                    </a:cubicBezTo>
                    <a:cubicBezTo>
                      <a:pt x="51117" y="3215"/>
                      <a:pt x="33338" y="1945"/>
                      <a:pt x="20003" y="9565"/>
                    </a:cubicBezTo>
                    <a:lnTo>
                      <a:pt x="4763" y="18455"/>
                    </a:lnTo>
                    <a:cubicBezTo>
                      <a:pt x="4763" y="18455"/>
                      <a:pt x="4763" y="18455"/>
                      <a:pt x="5397" y="18455"/>
                    </a:cubicBezTo>
                    <a:cubicBezTo>
                      <a:pt x="6667" y="17820"/>
                      <a:pt x="8572" y="17185"/>
                      <a:pt x="9842" y="16550"/>
                    </a:cubicBezTo>
                    <a:cubicBezTo>
                      <a:pt x="9842" y="16550"/>
                      <a:pt x="10478" y="16550"/>
                      <a:pt x="10478" y="16550"/>
                    </a:cubicBezTo>
                    <a:cubicBezTo>
                      <a:pt x="11747" y="15915"/>
                      <a:pt x="13017" y="15915"/>
                      <a:pt x="14922" y="15280"/>
                    </a:cubicBezTo>
                    <a:cubicBezTo>
                      <a:pt x="15557" y="15280"/>
                      <a:pt x="16192" y="15280"/>
                      <a:pt x="16828" y="15280"/>
                    </a:cubicBezTo>
                    <a:cubicBezTo>
                      <a:pt x="18097" y="15280"/>
                      <a:pt x="19367" y="14645"/>
                      <a:pt x="20638" y="14645"/>
                    </a:cubicBezTo>
                    <a:cubicBezTo>
                      <a:pt x="21272" y="14645"/>
                      <a:pt x="21907" y="14645"/>
                      <a:pt x="22542" y="14645"/>
                    </a:cubicBezTo>
                    <a:cubicBezTo>
                      <a:pt x="23813" y="14645"/>
                      <a:pt x="25717" y="14645"/>
                      <a:pt x="26988" y="14645"/>
                    </a:cubicBezTo>
                    <a:cubicBezTo>
                      <a:pt x="27622" y="14645"/>
                      <a:pt x="27622" y="14645"/>
                      <a:pt x="28257" y="14645"/>
                    </a:cubicBezTo>
                    <a:cubicBezTo>
                      <a:pt x="30163" y="14645"/>
                      <a:pt x="32067" y="15280"/>
                      <a:pt x="33972" y="15280"/>
                    </a:cubicBezTo>
                    <a:cubicBezTo>
                      <a:pt x="34607" y="15280"/>
                      <a:pt x="35242" y="15280"/>
                      <a:pt x="35878" y="15915"/>
                    </a:cubicBezTo>
                    <a:cubicBezTo>
                      <a:pt x="37147" y="16550"/>
                      <a:pt x="39053" y="16550"/>
                      <a:pt x="40322" y="17185"/>
                    </a:cubicBezTo>
                    <a:cubicBezTo>
                      <a:pt x="40957" y="17185"/>
                      <a:pt x="41592" y="17820"/>
                      <a:pt x="42228" y="17820"/>
                    </a:cubicBezTo>
                    <a:cubicBezTo>
                      <a:pt x="43497" y="18455"/>
                      <a:pt x="45403" y="19090"/>
                      <a:pt x="46672" y="19725"/>
                    </a:cubicBezTo>
                    <a:cubicBezTo>
                      <a:pt x="47307" y="19725"/>
                      <a:pt x="47942" y="20360"/>
                      <a:pt x="48578" y="20360"/>
                    </a:cubicBezTo>
                    <a:cubicBezTo>
                      <a:pt x="50482" y="21630"/>
                      <a:pt x="53022" y="22265"/>
                      <a:pt x="55563" y="23535"/>
                    </a:cubicBezTo>
                    <a:cubicBezTo>
                      <a:pt x="79692" y="37505"/>
                      <a:pt x="101282" y="64175"/>
                      <a:pt x="113982" y="92750"/>
                    </a:cubicBezTo>
                    <a:cubicBezTo>
                      <a:pt x="116522" y="94020"/>
                      <a:pt x="119063" y="95290"/>
                      <a:pt x="121603" y="96560"/>
                    </a:cubicBezTo>
                    <a:cubicBezTo>
                      <a:pt x="147638" y="111800"/>
                      <a:pt x="169228" y="144820"/>
                      <a:pt x="174307" y="175935"/>
                    </a:cubicBezTo>
                    <a:cubicBezTo>
                      <a:pt x="190182" y="192445"/>
                      <a:pt x="201613" y="216575"/>
                      <a:pt x="201613" y="237530"/>
                    </a:cubicBezTo>
                    <a:cubicBezTo>
                      <a:pt x="201613" y="239435"/>
                      <a:pt x="201613" y="240705"/>
                      <a:pt x="201613" y="242610"/>
                    </a:cubicBezTo>
                    <a:cubicBezTo>
                      <a:pt x="201613" y="243245"/>
                      <a:pt x="201613" y="243245"/>
                      <a:pt x="201613" y="243880"/>
                    </a:cubicBezTo>
                    <a:cubicBezTo>
                      <a:pt x="201613" y="245150"/>
                      <a:pt x="201613" y="245785"/>
                      <a:pt x="200978" y="247055"/>
                    </a:cubicBezTo>
                    <a:cubicBezTo>
                      <a:pt x="200978" y="247690"/>
                      <a:pt x="200978" y="248325"/>
                      <a:pt x="200342" y="248325"/>
                    </a:cubicBezTo>
                    <a:cubicBezTo>
                      <a:pt x="200342" y="248960"/>
                      <a:pt x="199707" y="250230"/>
                      <a:pt x="199707" y="250865"/>
                    </a:cubicBezTo>
                    <a:cubicBezTo>
                      <a:pt x="199707" y="251500"/>
                      <a:pt x="199072" y="252135"/>
                      <a:pt x="199072" y="252135"/>
                    </a:cubicBezTo>
                    <a:cubicBezTo>
                      <a:pt x="199072" y="252770"/>
                      <a:pt x="198438" y="253405"/>
                      <a:pt x="198438" y="254040"/>
                    </a:cubicBezTo>
                    <a:cubicBezTo>
                      <a:pt x="198438" y="254675"/>
                      <a:pt x="197803" y="254675"/>
                      <a:pt x="197803" y="255310"/>
                    </a:cubicBezTo>
                    <a:cubicBezTo>
                      <a:pt x="197167" y="255945"/>
                      <a:pt x="197167" y="256580"/>
                      <a:pt x="196532" y="257215"/>
                    </a:cubicBezTo>
                    <a:cubicBezTo>
                      <a:pt x="196532" y="257850"/>
                      <a:pt x="195897" y="257850"/>
                      <a:pt x="195897" y="258485"/>
                    </a:cubicBezTo>
                    <a:cubicBezTo>
                      <a:pt x="195263" y="259120"/>
                      <a:pt x="195263" y="259755"/>
                      <a:pt x="194628" y="259755"/>
                    </a:cubicBezTo>
                    <a:cubicBezTo>
                      <a:pt x="193992" y="260390"/>
                      <a:pt x="193992" y="260390"/>
                      <a:pt x="193357" y="261025"/>
                    </a:cubicBezTo>
                    <a:cubicBezTo>
                      <a:pt x="192722" y="261660"/>
                      <a:pt x="192722" y="261660"/>
                      <a:pt x="192088" y="262295"/>
                    </a:cubicBezTo>
                    <a:cubicBezTo>
                      <a:pt x="191453" y="262930"/>
                      <a:pt x="191453" y="262930"/>
                      <a:pt x="190817" y="262930"/>
                    </a:cubicBezTo>
                    <a:cubicBezTo>
                      <a:pt x="190182" y="263565"/>
                      <a:pt x="190182" y="263565"/>
                      <a:pt x="189547" y="264200"/>
                    </a:cubicBezTo>
                    <a:lnTo>
                      <a:pt x="204788" y="255310"/>
                    </a:lnTo>
                    <a:cubicBezTo>
                      <a:pt x="212407" y="250865"/>
                      <a:pt x="217488" y="241340"/>
                      <a:pt x="217488" y="228005"/>
                    </a:cubicBezTo>
                    <a:cubicBezTo>
                      <a:pt x="216853" y="207685"/>
                      <a:pt x="205422" y="183555"/>
                      <a:pt x="189547" y="167045"/>
                    </a:cubicBezTo>
                    <a:close/>
                  </a:path>
                </a:pathLst>
              </a:custGeom>
              <a:solidFill>
                <a:srgbClr val="B2B5C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5" name="任意多边形: 形状 324"/>
              <p:cNvSpPr/>
              <p:nvPr/>
            </p:nvSpPr>
            <p:spPr>
              <a:xfrm flipH="1">
                <a:off x="3797915" y="912813"/>
                <a:ext cx="279400" cy="260350"/>
              </a:xfrm>
              <a:custGeom>
                <a:avLst/>
                <a:gdLst>
                  <a:gd name="connsiteX0" fmla="*/ 267653 w 279400"/>
                  <a:gd name="connsiteY0" fmla="*/ 251142 h 260350"/>
                  <a:gd name="connsiteX1" fmla="*/ 268922 w 279400"/>
                  <a:gd name="connsiteY1" fmla="*/ 249872 h 260350"/>
                  <a:gd name="connsiteX2" fmla="*/ 270193 w 279400"/>
                  <a:gd name="connsiteY2" fmla="*/ 248602 h 260350"/>
                  <a:gd name="connsiteX3" fmla="*/ 270828 w 279400"/>
                  <a:gd name="connsiteY3" fmla="*/ 247332 h 260350"/>
                  <a:gd name="connsiteX4" fmla="*/ 272097 w 279400"/>
                  <a:gd name="connsiteY4" fmla="*/ 245427 h 260350"/>
                  <a:gd name="connsiteX5" fmla="*/ 272733 w 279400"/>
                  <a:gd name="connsiteY5" fmla="*/ 244157 h 260350"/>
                  <a:gd name="connsiteX6" fmla="*/ 273368 w 279400"/>
                  <a:gd name="connsiteY6" fmla="*/ 242252 h 260350"/>
                  <a:gd name="connsiteX7" fmla="*/ 274003 w 279400"/>
                  <a:gd name="connsiteY7" fmla="*/ 240982 h 260350"/>
                  <a:gd name="connsiteX8" fmla="*/ 274638 w 279400"/>
                  <a:gd name="connsiteY8" fmla="*/ 238442 h 260350"/>
                  <a:gd name="connsiteX9" fmla="*/ 275272 w 279400"/>
                  <a:gd name="connsiteY9" fmla="*/ 237172 h 260350"/>
                  <a:gd name="connsiteX10" fmla="*/ 275908 w 279400"/>
                  <a:gd name="connsiteY10" fmla="*/ 233997 h 260350"/>
                  <a:gd name="connsiteX11" fmla="*/ 275908 w 279400"/>
                  <a:gd name="connsiteY11" fmla="*/ 232727 h 260350"/>
                  <a:gd name="connsiteX12" fmla="*/ 275908 w 279400"/>
                  <a:gd name="connsiteY12" fmla="*/ 227647 h 260350"/>
                  <a:gd name="connsiteX13" fmla="*/ 248603 w 279400"/>
                  <a:gd name="connsiteY13" fmla="*/ 166052 h 260350"/>
                  <a:gd name="connsiteX14" fmla="*/ 195897 w 279400"/>
                  <a:gd name="connsiteY14" fmla="*/ 86677 h 260350"/>
                  <a:gd name="connsiteX15" fmla="*/ 188278 w 279400"/>
                  <a:gd name="connsiteY15" fmla="*/ 82867 h 260350"/>
                  <a:gd name="connsiteX16" fmla="*/ 129858 w 279400"/>
                  <a:gd name="connsiteY16" fmla="*/ 13652 h 260350"/>
                  <a:gd name="connsiteX17" fmla="*/ 122872 w 279400"/>
                  <a:gd name="connsiteY17" fmla="*/ 10477 h 260350"/>
                  <a:gd name="connsiteX18" fmla="*/ 120968 w 279400"/>
                  <a:gd name="connsiteY18" fmla="*/ 9842 h 260350"/>
                  <a:gd name="connsiteX19" fmla="*/ 116522 w 279400"/>
                  <a:gd name="connsiteY19" fmla="*/ 7938 h 260350"/>
                  <a:gd name="connsiteX20" fmla="*/ 114618 w 279400"/>
                  <a:gd name="connsiteY20" fmla="*/ 7302 h 260350"/>
                  <a:gd name="connsiteX21" fmla="*/ 110172 w 279400"/>
                  <a:gd name="connsiteY21" fmla="*/ 6032 h 260350"/>
                  <a:gd name="connsiteX22" fmla="*/ 108268 w 279400"/>
                  <a:gd name="connsiteY22" fmla="*/ 5397 h 260350"/>
                  <a:gd name="connsiteX23" fmla="*/ 102553 w 279400"/>
                  <a:gd name="connsiteY23" fmla="*/ 4763 h 260350"/>
                  <a:gd name="connsiteX24" fmla="*/ 101283 w 279400"/>
                  <a:gd name="connsiteY24" fmla="*/ 4763 h 260350"/>
                  <a:gd name="connsiteX25" fmla="*/ 96838 w 279400"/>
                  <a:gd name="connsiteY25" fmla="*/ 4763 h 260350"/>
                  <a:gd name="connsiteX26" fmla="*/ 94933 w 279400"/>
                  <a:gd name="connsiteY26" fmla="*/ 4763 h 260350"/>
                  <a:gd name="connsiteX27" fmla="*/ 91122 w 279400"/>
                  <a:gd name="connsiteY27" fmla="*/ 5397 h 260350"/>
                  <a:gd name="connsiteX28" fmla="*/ 89218 w 279400"/>
                  <a:gd name="connsiteY28" fmla="*/ 5397 h 260350"/>
                  <a:gd name="connsiteX29" fmla="*/ 84772 w 279400"/>
                  <a:gd name="connsiteY29" fmla="*/ 6667 h 260350"/>
                  <a:gd name="connsiteX30" fmla="*/ 84138 w 279400"/>
                  <a:gd name="connsiteY30" fmla="*/ 6667 h 260350"/>
                  <a:gd name="connsiteX31" fmla="*/ 79693 w 279400"/>
                  <a:gd name="connsiteY31" fmla="*/ 8572 h 260350"/>
                  <a:gd name="connsiteX32" fmla="*/ 70803 w 279400"/>
                  <a:gd name="connsiteY32" fmla="*/ 16192 h 260350"/>
                  <a:gd name="connsiteX33" fmla="*/ 62547 w 279400"/>
                  <a:gd name="connsiteY33" fmla="*/ 29527 h 260350"/>
                  <a:gd name="connsiteX34" fmla="*/ 58738 w 279400"/>
                  <a:gd name="connsiteY34" fmla="*/ 26988 h 260350"/>
                  <a:gd name="connsiteX35" fmla="*/ 53022 w 279400"/>
                  <a:gd name="connsiteY35" fmla="*/ 23813 h 260350"/>
                  <a:gd name="connsiteX36" fmla="*/ 51118 w 279400"/>
                  <a:gd name="connsiteY36" fmla="*/ 23177 h 260350"/>
                  <a:gd name="connsiteX37" fmla="*/ 47943 w 279400"/>
                  <a:gd name="connsiteY37" fmla="*/ 21907 h 260350"/>
                  <a:gd name="connsiteX38" fmla="*/ 46038 w 279400"/>
                  <a:gd name="connsiteY38" fmla="*/ 21272 h 260350"/>
                  <a:gd name="connsiteX39" fmla="*/ 42863 w 279400"/>
                  <a:gd name="connsiteY39" fmla="*/ 20638 h 260350"/>
                  <a:gd name="connsiteX40" fmla="*/ 40958 w 279400"/>
                  <a:gd name="connsiteY40" fmla="*/ 20002 h 260350"/>
                  <a:gd name="connsiteX41" fmla="*/ 37783 w 279400"/>
                  <a:gd name="connsiteY41" fmla="*/ 19367 h 260350"/>
                  <a:gd name="connsiteX42" fmla="*/ 35878 w 279400"/>
                  <a:gd name="connsiteY42" fmla="*/ 19367 h 260350"/>
                  <a:gd name="connsiteX43" fmla="*/ 33338 w 279400"/>
                  <a:gd name="connsiteY43" fmla="*/ 19367 h 260350"/>
                  <a:gd name="connsiteX44" fmla="*/ 31433 w 279400"/>
                  <a:gd name="connsiteY44" fmla="*/ 19367 h 260350"/>
                  <a:gd name="connsiteX45" fmla="*/ 28893 w 279400"/>
                  <a:gd name="connsiteY45" fmla="*/ 19367 h 260350"/>
                  <a:gd name="connsiteX46" fmla="*/ 26988 w 279400"/>
                  <a:gd name="connsiteY46" fmla="*/ 20002 h 260350"/>
                  <a:gd name="connsiteX47" fmla="*/ 24447 w 279400"/>
                  <a:gd name="connsiteY47" fmla="*/ 20638 h 260350"/>
                  <a:gd name="connsiteX48" fmla="*/ 22543 w 279400"/>
                  <a:gd name="connsiteY48" fmla="*/ 21272 h 260350"/>
                  <a:gd name="connsiteX49" fmla="*/ 20638 w 279400"/>
                  <a:gd name="connsiteY49" fmla="*/ 22542 h 260350"/>
                  <a:gd name="connsiteX50" fmla="*/ 4763 w 279400"/>
                  <a:gd name="connsiteY50" fmla="*/ 57467 h 260350"/>
                  <a:gd name="connsiteX51" fmla="*/ 58738 w 279400"/>
                  <a:gd name="connsiteY51" fmla="*/ 150813 h 260350"/>
                  <a:gd name="connsiteX52" fmla="*/ 233363 w 279400"/>
                  <a:gd name="connsiteY52" fmla="*/ 251777 h 260350"/>
                  <a:gd name="connsiteX53" fmla="*/ 265113 w 279400"/>
                  <a:gd name="connsiteY53" fmla="*/ 253682 h 260350"/>
                  <a:gd name="connsiteX54" fmla="*/ 266383 w 279400"/>
                  <a:gd name="connsiteY54" fmla="*/ 253047 h 260350"/>
                  <a:gd name="connsiteX55" fmla="*/ 267653 w 279400"/>
                  <a:gd name="connsiteY55" fmla="*/ 251142 h 26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279400" h="260350">
                    <a:moveTo>
                      <a:pt x="267653" y="251142"/>
                    </a:moveTo>
                    <a:cubicBezTo>
                      <a:pt x="268288" y="250507"/>
                      <a:pt x="268288" y="250507"/>
                      <a:pt x="268922" y="249872"/>
                    </a:cubicBezTo>
                    <a:cubicBezTo>
                      <a:pt x="269558" y="249238"/>
                      <a:pt x="269558" y="248602"/>
                      <a:pt x="270193" y="248602"/>
                    </a:cubicBezTo>
                    <a:cubicBezTo>
                      <a:pt x="270193" y="247967"/>
                      <a:pt x="270828" y="247967"/>
                      <a:pt x="270828" y="247332"/>
                    </a:cubicBezTo>
                    <a:cubicBezTo>
                      <a:pt x="271463" y="246697"/>
                      <a:pt x="271463" y="246063"/>
                      <a:pt x="272097" y="245427"/>
                    </a:cubicBezTo>
                    <a:cubicBezTo>
                      <a:pt x="272097" y="244792"/>
                      <a:pt x="272733" y="244792"/>
                      <a:pt x="272733" y="244157"/>
                    </a:cubicBezTo>
                    <a:cubicBezTo>
                      <a:pt x="272733" y="243522"/>
                      <a:pt x="273368" y="242888"/>
                      <a:pt x="273368" y="242252"/>
                    </a:cubicBezTo>
                    <a:cubicBezTo>
                      <a:pt x="273368" y="241617"/>
                      <a:pt x="274003" y="240982"/>
                      <a:pt x="274003" y="240982"/>
                    </a:cubicBezTo>
                    <a:cubicBezTo>
                      <a:pt x="274003" y="240347"/>
                      <a:pt x="274638" y="239077"/>
                      <a:pt x="274638" y="238442"/>
                    </a:cubicBezTo>
                    <a:cubicBezTo>
                      <a:pt x="274638" y="237807"/>
                      <a:pt x="274638" y="237172"/>
                      <a:pt x="275272" y="237172"/>
                    </a:cubicBezTo>
                    <a:cubicBezTo>
                      <a:pt x="275272" y="235902"/>
                      <a:pt x="275908" y="235267"/>
                      <a:pt x="275908" y="233997"/>
                    </a:cubicBezTo>
                    <a:cubicBezTo>
                      <a:pt x="275908" y="233363"/>
                      <a:pt x="275908" y="233363"/>
                      <a:pt x="275908" y="232727"/>
                    </a:cubicBezTo>
                    <a:cubicBezTo>
                      <a:pt x="275908" y="231457"/>
                      <a:pt x="275908" y="229552"/>
                      <a:pt x="275908" y="227647"/>
                    </a:cubicBezTo>
                    <a:cubicBezTo>
                      <a:pt x="275908" y="206692"/>
                      <a:pt x="264478" y="182563"/>
                      <a:pt x="248603" y="166052"/>
                    </a:cubicBezTo>
                    <a:cubicBezTo>
                      <a:pt x="243522" y="134938"/>
                      <a:pt x="221933" y="101917"/>
                      <a:pt x="195897" y="86677"/>
                    </a:cubicBezTo>
                    <a:cubicBezTo>
                      <a:pt x="193358" y="85407"/>
                      <a:pt x="190818" y="84138"/>
                      <a:pt x="188278" y="82867"/>
                    </a:cubicBezTo>
                    <a:cubicBezTo>
                      <a:pt x="175578" y="54292"/>
                      <a:pt x="153988" y="27622"/>
                      <a:pt x="129858" y="13652"/>
                    </a:cubicBezTo>
                    <a:cubicBezTo>
                      <a:pt x="127318" y="12382"/>
                      <a:pt x="125413" y="11113"/>
                      <a:pt x="122872" y="10477"/>
                    </a:cubicBezTo>
                    <a:cubicBezTo>
                      <a:pt x="122238" y="9842"/>
                      <a:pt x="121603" y="9842"/>
                      <a:pt x="120968" y="9842"/>
                    </a:cubicBezTo>
                    <a:cubicBezTo>
                      <a:pt x="119697" y="9207"/>
                      <a:pt x="117793" y="8572"/>
                      <a:pt x="116522" y="7938"/>
                    </a:cubicBezTo>
                    <a:cubicBezTo>
                      <a:pt x="115888" y="7938"/>
                      <a:pt x="115253" y="7302"/>
                      <a:pt x="114618" y="7302"/>
                    </a:cubicBezTo>
                    <a:cubicBezTo>
                      <a:pt x="113347" y="6667"/>
                      <a:pt x="111443" y="6667"/>
                      <a:pt x="110172" y="6032"/>
                    </a:cubicBezTo>
                    <a:cubicBezTo>
                      <a:pt x="109538" y="6032"/>
                      <a:pt x="108903" y="6032"/>
                      <a:pt x="108268" y="5397"/>
                    </a:cubicBezTo>
                    <a:cubicBezTo>
                      <a:pt x="106363" y="4763"/>
                      <a:pt x="104458" y="4763"/>
                      <a:pt x="102553" y="4763"/>
                    </a:cubicBezTo>
                    <a:cubicBezTo>
                      <a:pt x="101918" y="4763"/>
                      <a:pt x="101918" y="4763"/>
                      <a:pt x="101283" y="4763"/>
                    </a:cubicBezTo>
                    <a:cubicBezTo>
                      <a:pt x="100013" y="4763"/>
                      <a:pt x="98108" y="4763"/>
                      <a:pt x="96838" y="4763"/>
                    </a:cubicBezTo>
                    <a:cubicBezTo>
                      <a:pt x="96203" y="4763"/>
                      <a:pt x="95568" y="4763"/>
                      <a:pt x="94933" y="4763"/>
                    </a:cubicBezTo>
                    <a:cubicBezTo>
                      <a:pt x="93663" y="4763"/>
                      <a:pt x="92393" y="4763"/>
                      <a:pt x="91122" y="5397"/>
                    </a:cubicBezTo>
                    <a:cubicBezTo>
                      <a:pt x="90488" y="5397"/>
                      <a:pt x="89853" y="5397"/>
                      <a:pt x="89218" y="5397"/>
                    </a:cubicBezTo>
                    <a:cubicBezTo>
                      <a:pt x="87947" y="6032"/>
                      <a:pt x="86043" y="6032"/>
                      <a:pt x="84772" y="6667"/>
                    </a:cubicBezTo>
                    <a:cubicBezTo>
                      <a:pt x="84772" y="6667"/>
                      <a:pt x="84138" y="6667"/>
                      <a:pt x="84138" y="6667"/>
                    </a:cubicBezTo>
                    <a:cubicBezTo>
                      <a:pt x="82233" y="7302"/>
                      <a:pt x="80963" y="7938"/>
                      <a:pt x="79693" y="8572"/>
                    </a:cubicBezTo>
                    <a:cubicBezTo>
                      <a:pt x="76518" y="10477"/>
                      <a:pt x="73343" y="13017"/>
                      <a:pt x="70803" y="16192"/>
                    </a:cubicBezTo>
                    <a:cubicBezTo>
                      <a:pt x="67628" y="20002"/>
                      <a:pt x="65088" y="24447"/>
                      <a:pt x="62547" y="29527"/>
                    </a:cubicBezTo>
                    <a:cubicBezTo>
                      <a:pt x="61278" y="28892"/>
                      <a:pt x="60008" y="27622"/>
                      <a:pt x="58738" y="26988"/>
                    </a:cubicBezTo>
                    <a:cubicBezTo>
                      <a:pt x="56833" y="25717"/>
                      <a:pt x="54928" y="25082"/>
                      <a:pt x="53022" y="23813"/>
                    </a:cubicBezTo>
                    <a:cubicBezTo>
                      <a:pt x="52388" y="23813"/>
                      <a:pt x="51753" y="23177"/>
                      <a:pt x="51118" y="23177"/>
                    </a:cubicBezTo>
                    <a:cubicBezTo>
                      <a:pt x="49847" y="22542"/>
                      <a:pt x="48578" y="21907"/>
                      <a:pt x="47943" y="21907"/>
                    </a:cubicBezTo>
                    <a:cubicBezTo>
                      <a:pt x="47308" y="21907"/>
                      <a:pt x="46672" y="21272"/>
                      <a:pt x="46038" y="21272"/>
                    </a:cubicBezTo>
                    <a:cubicBezTo>
                      <a:pt x="44768" y="21272"/>
                      <a:pt x="44133" y="20638"/>
                      <a:pt x="42863" y="20638"/>
                    </a:cubicBezTo>
                    <a:cubicBezTo>
                      <a:pt x="42228" y="20638"/>
                      <a:pt x="41593" y="20638"/>
                      <a:pt x="40958" y="20002"/>
                    </a:cubicBezTo>
                    <a:cubicBezTo>
                      <a:pt x="39688" y="20002"/>
                      <a:pt x="39053" y="19367"/>
                      <a:pt x="37783" y="19367"/>
                    </a:cubicBezTo>
                    <a:cubicBezTo>
                      <a:pt x="37147" y="19367"/>
                      <a:pt x="36513" y="19367"/>
                      <a:pt x="35878" y="19367"/>
                    </a:cubicBezTo>
                    <a:cubicBezTo>
                      <a:pt x="35243" y="19367"/>
                      <a:pt x="33972" y="19367"/>
                      <a:pt x="33338" y="19367"/>
                    </a:cubicBezTo>
                    <a:cubicBezTo>
                      <a:pt x="32703" y="19367"/>
                      <a:pt x="32068" y="19367"/>
                      <a:pt x="31433" y="19367"/>
                    </a:cubicBezTo>
                    <a:cubicBezTo>
                      <a:pt x="30797" y="19367"/>
                      <a:pt x="29528" y="19367"/>
                      <a:pt x="28893" y="19367"/>
                    </a:cubicBezTo>
                    <a:cubicBezTo>
                      <a:pt x="28258" y="19367"/>
                      <a:pt x="27622" y="20002"/>
                      <a:pt x="26988" y="20002"/>
                    </a:cubicBezTo>
                    <a:cubicBezTo>
                      <a:pt x="26353" y="20002"/>
                      <a:pt x="25718" y="20638"/>
                      <a:pt x="24447" y="20638"/>
                    </a:cubicBezTo>
                    <a:cubicBezTo>
                      <a:pt x="23813" y="20638"/>
                      <a:pt x="23178" y="21272"/>
                      <a:pt x="22543" y="21272"/>
                    </a:cubicBezTo>
                    <a:cubicBezTo>
                      <a:pt x="21908" y="21272"/>
                      <a:pt x="21272" y="21907"/>
                      <a:pt x="20638" y="22542"/>
                    </a:cubicBezTo>
                    <a:cubicBezTo>
                      <a:pt x="11113" y="28257"/>
                      <a:pt x="4763" y="40322"/>
                      <a:pt x="4763" y="57467"/>
                    </a:cubicBezTo>
                    <a:cubicBezTo>
                      <a:pt x="4763" y="91757"/>
                      <a:pt x="28893" y="133032"/>
                      <a:pt x="58738" y="150813"/>
                    </a:cubicBezTo>
                    <a:lnTo>
                      <a:pt x="233363" y="251777"/>
                    </a:lnTo>
                    <a:cubicBezTo>
                      <a:pt x="246063" y="258763"/>
                      <a:pt x="257493" y="259397"/>
                      <a:pt x="265113" y="253682"/>
                    </a:cubicBezTo>
                    <a:cubicBezTo>
                      <a:pt x="265747" y="253682"/>
                      <a:pt x="265747" y="253047"/>
                      <a:pt x="266383" y="253047"/>
                    </a:cubicBezTo>
                    <a:cubicBezTo>
                      <a:pt x="267018" y="251777"/>
                      <a:pt x="267018" y="251777"/>
                      <a:pt x="267653" y="25114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6" name="任意多边形: 形状 325"/>
              <p:cNvSpPr/>
              <p:nvPr/>
            </p:nvSpPr>
            <p:spPr>
              <a:xfrm flipH="1">
                <a:off x="1465877" y="1867177"/>
                <a:ext cx="215900" cy="260350"/>
              </a:xfrm>
              <a:custGeom>
                <a:avLst/>
                <a:gdLst>
                  <a:gd name="connsiteX0" fmla="*/ 187960 w 215900"/>
                  <a:gd name="connsiteY0" fmla="*/ 165458 h 260350"/>
                  <a:gd name="connsiteX1" fmla="*/ 135255 w 215900"/>
                  <a:gd name="connsiteY1" fmla="*/ 86083 h 260350"/>
                  <a:gd name="connsiteX2" fmla="*/ 127635 w 215900"/>
                  <a:gd name="connsiteY2" fmla="*/ 82273 h 260350"/>
                  <a:gd name="connsiteX3" fmla="*/ 69215 w 215900"/>
                  <a:gd name="connsiteY3" fmla="*/ 13058 h 260350"/>
                  <a:gd name="connsiteX4" fmla="*/ 18415 w 215900"/>
                  <a:gd name="connsiteY4" fmla="*/ 7978 h 260350"/>
                  <a:gd name="connsiteX5" fmla="*/ 3175 w 215900"/>
                  <a:gd name="connsiteY5" fmla="*/ 16868 h 260350"/>
                  <a:gd name="connsiteX6" fmla="*/ 3810 w 215900"/>
                  <a:gd name="connsiteY6" fmla="*/ 16868 h 260350"/>
                  <a:gd name="connsiteX7" fmla="*/ 8255 w 215900"/>
                  <a:gd name="connsiteY7" fmla="*/ 14963 h 260350"/>
                  <a:gd name="connsiteX8" fmla="*/ 8890 w 215900"/>
                  <a:gd name="connsiteY8" fmla="*/ 14963 h 260350"/>
                  <a:gd name="connsiteX9" fmla="*/ 13335 w 215900"/>
                  <a:gd name="connsiteY9" fmla="*/ 13693 h 260350"/>
                  <a:gd name="connsiteX10" fmla="*/ 15240 w 215900"/>
                  <a:gd name="connsiteY10" fmla="*/ 13693 h 260350"/>
                  <a:gd name="connsiteX11" fmla="*/ 19050 w 215900"/>
                  <a:gd name="connsiteY11" fmla="*/ 13058 h 260350"/>
                  <a:gd name="connsiteX12" fmla="*/ 20955 w 215900"/>
                  <a:gd name="connsiteY12" fmla="*/ 13058 h 260350"/>
                  <a:gd name="connsiteX13" fmla="*/ 25400 w 215900"/>
                  <a:gd name="connsiteY13" fmla="*/ 13058 h 260350"/>
                  <a:gd name="connsiteX14" fmla="*/ 26670 w 215900"/>
                  <a:gd name="connsiteY14" fmla="*/ 13058 h 260350"/>
                  <a:gd name="connsiteX15" fmla="*/ 32385 w 215900"/>
                  <a:gd name="connsiteY15" fmla="*/ 13693 h 260350"/>
                  <a:gd name="connsiteX16" fmla="*/ 34290 w 215900"/>
                  <a:gd name="connsiteY16" fmla="*/ 14328 h 260350"/>
                  <a:gd name="connsiteX17" fmla="*/ 38735 w 215900"/>
                  <a:gd name="connsiteY17" fmla="*/ 15598 h 260350"/>
                  <a:gd name="connsiteX18" fmla="*/ 40640 w 215900"/>
                  <a:gd name="connsiteY18" fmla="*/ 16233 h 260350"/>
                  <a:gd name="connsiteX19" fmla="*/ 45085 w 215900"/>
                  <a:gd name="connsiteY19" fmla="*/ 18138 h 260350"/>
                  <a:gd name="connsiteX20" fmla="*/ 46990 w 215900"/>
                  <a:gd name="connsiteY20" fmla="*/ 18773 h 260350"/>
                  <a:gd name="connsiteX21" fmla="*/ 53975 w 215900"/>
                  <a:gd name="connsiteY21" fmla="*/ 21948 h 260350"/>
                  <a:gd name="connsiteX22" fmla="*/ 112395 w 215900"/>
                  <a:gd name="connsiteY22" fmla="*/ 91163 h 260350"/>
                  <a:gd name="connsiteX23" fmla="*/ 120015 w 215900"/>
                  <a:gd name="connsiteY23" fmla="*/ 94973 h 260350"/>
                  <a:gd name="connsiteX24" fmla="*/ 172720 w 215900"/>
                  <a:gd name="connsiteY24" fmla="*/ 174348 h 260350"/>
                  <a:gd name="connsiteX25" fmla="*/ 200025 w 215900"/>
                  <a:gd name="connsiteY25" fmla="*/ 235943 h 260350"/>
                  <a:gd name="connsiteX26" fmla="*/ 200025 w 215900"/>
                  <a:gd name="connsiteY26" fmla="*/ 241023 h 260350"/>
                  <a:gd name="connsiteX27" fmla="*/ 200025 w 215900"/>
                  <a:gd name="connsiteY27" fmla="*/ 242293 h 260350"/>
                  <a:gd name="connsiteX28" fmla="*/ 199390 w 215900"/>
                  <a:gd name="connsiteY28" fmla="*/ 245468 h 260350"/>
                  <a:gd name="connsiteX29" fmla="*/ 198755 w 215900"/>
                  <a:gd name="connsiteY29" fmla="*/ 246738 h 260350"/>
                  <a:gd name="connsiteX30" fmla="*/ 198120 w 215900"/>
                  <a:gd name="connsiteY30" fmla="*/ 249278 h 260350"/>
                  <a:gd name="connsiteX31" fmla="*/ 197485 w 215900"/>
                  <a:gd name="connsiteY31" fmla="*/ 250548 h 260350"/>
                  <a:gd name="connsiteX32" fmla="*/ 196850 w 215900"/>
                  <a:gd name="connsiteY32" fmla="*/ 252453 h 260350"/>
                  <a:gd name="connsiteX33" fmla="*/ 196215 w 215900"/>
                  <a:gd name="connsiteY33" fmla="*/ 253723 h 260350"/>
                  <a:gd name="connsiteX34" fmla="*/ 194945 w 215900"/>
                  <a:gd name="connsiteY34" fmla="*/ 255628 h 260350"/>
                  <a:gd name="connsiteX35" fmla="*/ 194310 w 215900"/>
                  <a:gd name="connsiteY35" fmla="*/ 256898 h 260350"/>
                  <a:gd name="connsiteX36" fmla="*/ 193040 w 215900"/>
                  <a:gd name="connsiteY36" fmla="*/ 258168 h 260350"/>
                  <a:gd name="connsiteX37" fmla="*/ 191770 w 215900"/>
                  <a:gd name="connsiteY37" fmla="*/ 259438 h 260350"/>
                  <a:gd name="connsiteX38" fmla="*/ 190500 w 215900"/>
                  <a:gd name="connsiteY38" fmla="*/ 260708 h 260350"/>
                  <a:gd name="connsiteX39" fmla="*/ 189230 w 215900"/>
                  <a:gd name="connsiteY39" fmla="*/ 261343 h 260350"/>
                  <a:gd name="connsiteX40" fmla="*/ 187960 w 215900"/>
                  <a:gd name="connsiteY40" fmla="*/ 262613 h 260350"/>
                  <a:gd name="connsiteX41" fmla="*/ 203200 w 215900"/>
                  <a:gd name="connsiteY41" fmla="*/ 253723 h 260350"/>
                  <a:gd name="connsiteX42" fmla="*/ 215900 w 215900"/>
                  <a:gd name="connsiteY42" fmla="*/ 226418 h 260350"/>
                  <a:gd name="connsiteX43" fmla="*/ 187960 w 215900"/>
                  <a:gd name="connsiteY43" fmla="*/ 165458 h 26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215900" h="260350">
                    <a:moveTo>
                      <a:pt x="187960" y="165458"/>
                    </a:moveTo>
                    <a:cubicBezTo>
                      <a:pt x="182880" y="134343"/>
                      <a:pt x="161290" y="101323"/>
                      <a:pt x="135255" y="86083"/>
                    </a:cubicBezTo>
                    <a:cubicBezTo>
                      <a:pt x="132715" y="84813"/>
                      <a:pt x="130175" y="83543"/>
                      <a:pt x="127635" y="82273"/>
                    </a:cubicBezTo>
                    <a:cubicBezTo>
                      <a:pt x="114935" y="53698"/>
                      <a:pt x="93345" y="27028"/>
                      <a:pt x="69215" y="13058"/>
                    </a:cubicBezTo>
                    <a:cubicBezTo>
                      <a:pt x="49530" y="1628"/>
                      <a:pt x="31750" y="358"/>
                      <a:pt x="18415" y="7978"/>
                    </a:cubicBezTo>
                    <a:lnTo>
                      <a:pt x="3175" y="16868"/>
                    </a:lnTo>
                    <a:cubicBezTo>
                      <a:pt x="3175" y="16868"/>
                      <a:pt x="3175" y="16868"/>
                      <a:pt x="3810" y="16868"/>
                    </a:cubicBezTo>
                    <a:cubicBezTo>
                      <a:pt x="5080" y="16233"/>
                      <a:pt x="6985" y="15598"/>
                      <a:pt x="8255" y="14963"/>
                    </a:cubicBezTo>
                    <a:cubicBezTo>
                      <a:pt x="8255" y="14963"/>
                      <a:pt x="8890" y="14963"/>
                      <a:pt x="8890" y="14963"/>
                    </a:cubicBezTo>
                    <a:cubicBezTo>
                      <a:pt x="10160" y="14328"/>
                      <a:pt x="11430" y="14328"/>
                      <a:pt x="13335" y="13693"/>
                    </a:cubicBezTo>
                    <a:cubicBezTo>
                      <a:pt x="13970" y="13693"/>
                      <a:pt x="14605" y="13693"/>
                      <a:pt x="15240" y="13693"/>
                    </a:cubicBezTo>
                    <a:cubicBezTo>
                      <a:pt x="16510" y="13693"/>
                      <a:pt x="17780" y="13058"/>
                      <a:pt x="19050" y="13058"/>
                    </a:cubicBezTo>
                    <a:cubicBezTo>
                      <a:pt x="19685" y="13058"/>
                      <a:pt x="20320" y="13058"/>
                      <a:pt x="20955" y="13058"/>
                    </a:cubicBezTo>
                    <a:cubicBezTo>
                      <a:pt x="22225" y="13058"/>
                      <a:pt x="24130" y="13058"/>
                      <a:pt x="25400" y="13058"/>
                    </a:cubicBezTo>
                    <a:cubicBezTo>
                      <a:pt x="26035" y="13058"/>
                      <a:pt x="26035" y="13058"/>
                      <a:pt x="26670" y="13058"/>
                    </a:cubicBezTo>
                    <a:cubicBezTo>
                      <a:pt x="28575" y="13058"/>
                      <a:pt x="30480" y="13693"/>
                      <a:pt x="32385" y="13693"/>
                    </a:cubicBezTo>
                    <a:cubicBezTo>
                      <a:pt x="33020" y="13693"/>
                      <a:pt x="33655" y="13693"/>
                      <a:pt x="34290" y="14328"/>
                    </a:cubicBezTo>
                    <a:cubicBezTo>
                      <a:pt x="35560" y="14963"/>
                      <a:pt x="37465" y="14963"/>
                      <a:pt x="38735" y="15598"/>
                    </a:cubicBezTo>
                    <a:cubicBezTo>
                      <a:pt x="39370" y="15598"/>
                      <a:pt x="40005" y="16233"/>
                      <a:pt x="40640" y="16233"/>
                    </a:cubicBezTo>
                    <a:cubicBezTo>
                      <a:pt x="41910" y="16868"/>
                      <a:pt x="43815" y="17503"/>
                      <a:pt x="45085" y="18138"/>
                    </a:cubicBezTo>
                    <a:cubicBezTo>
                      <a:pt x="45720" y="18138"/>
                      <a:pt x="46355" y="18773"/>
                      <a:pt x="46990" y="18773"/>
                    </a:cubicBezTo>
                    <a:cubicBezTo>
                      <a:pt x="48895" y="20043"/>
                      <a:pt x="51435" y="20678"/>
                      <a:pt x="53975" y="21948"/>
                    </a:cubicBezTo>
                    <a:cubicBezTo>
                      <a:pt x="78105" y="35918"/>
                      <a:pt x="99695" y="62588"/>
                      <a:pt x="112395" y="91163"/>
                    </a:cubicBezTo>
                    <a:cubicBezTo>
                      <a:pt x="114935" y="92433"/>
                      <a:pt x="117475" y="93703"/>
                      <a:pt x="120015" y="94973"/>
                    </a:cubicBezTo>
                    <a:cubicBezTo>
                      <a:pt x="146050" y="110213"/>
                      <a:pt x="167640" y="143233"/>
                      <a:pt x="172720" y="174348"/>
                    </a:cubicBezTo>
                    <a:cubicBezTo>
                      <a:pt x="188595" y="190858"/>
                      <a:pt x="200025" y="214988"/>
                      <a:pt x="200025" y="235943"/>
                    </a:cubicBezTo>
                    <a:cubicBezTo>
                      <a:pt x="200025" y="237848"/>
                      <a:pt x="200025" y="239118"/>
                      <a:pt x="200025" y="241023"/>
                    </a:cubicBezTo>
                    <a:cubicBezTo>
                      <a:pt x="200025" y="241658"/>
                      <a:pt x="200025" y="241658"/>
                      <a:pt x="200025" y="242293"/>
                    </a:cubicBezTo>
                    <a:cubicBezTo>
                      <a:pt x="200025" y="243563"/>
                      <a:pt x="200025" y="244198"/>
                      <a:pt x="199390" y="245468"/>
                    </a:cubicBezTo>
                    <a:cubicBezTo>
                      <a:pt x="199390" y="246103"/>
                      <a:pt x="199390" y="246738"/>
                      <a:pt x="198755" y="246738"/>
                    </a:cubicBezTo>
                    <a:cubicBezTo>
                      <a:pt x="198755" y="247373"/>
                      <a:pt x="198120" y="248643"/>
                      <a:pt x="198120" y="249278"/>
                    </a:cubicBezTo>
                    <a:cubicBezTo>
                      <a:pt x="198120" y="249913"/>
                      <a:pt x="197485" y="250548"/>
                      <a:pt x="197485" y="250548"/>
                    </a:cubicBezTo>
                    <a:cubicBezTo>
                      <a:pt x="197485" y="251183"/>
                      <a:pt x="196850" y="251818"/>
                      <a:pt x="196850" y="252453"/>
                    </a:cubicBezTo>
                    <a:cubicBezTo>
                      <a:pt x="196850" y="253088"/>
                      <a:pt x="196215" y="253088"/>
                      <a:pt x="196215" y="253723"/>
                    </a:cubicBezTo>
                    <a:cubicBezTo>
                      <a:pt x="195580" y="254358"/>
                      <a:pt x="195580" y="254993"/>
                      <a:pt x="194945" y="255628"/>
                    </a:cubicBezTo>
                    <a:cubicBezTo>
                      <a:pt x="194945" y="256263"/>
                      <a:pt x="194310" y="256263"/>
                      <a:pt x="194310" y="256898"/>
                    </a:cubicBezTo>
                    <a:cubicBezTo>
                      <a:pt x="193675" y="257533"/>
                      <a:pt x="193675" y="258168"/>
                      <a:pt x="193040" y="258168"/>
                    </a:cubicBezTo>
                    <a:cubicBezTo>
                      <a:pt x="192405" y="258803"/>
                      <a:pt x="192405" y="258803"/>
                      <a:pt x="191770" y="259438"/>
                    </a:cubicBezTo>
                    <a:cubicBezTo>
                      <a:pt x="191135" y="260073"/>
                      <a:pt x="191135" y="260073"/>
                      <a:pt x="190500" y="260708"/>
                    </a:cubicBezTo>
                    <a:cubicBezTo>
                      <a:pt x="189865" y="261343"/>
                      <a:pt x="189865" y="261343"/>
                      <a:pt x="189230" y="261343"/>
                    </a:cubicBezTo>
                    <a:cubicBezTo>
                      <a:pt x="188595" y="261978"/>
                      <a:pt x="188595" y="261978"/>
                      <a:pt x="187960" y="262613"/>
                    </a:cubicBezTo>
                    <a:lnTo>
                      <a:pt x="203200" y="253723"/>
                    </a:lnTo>
                    <a:cubicBezTo>
                      <a:pt x="210820" y="249278"/>
                      <a:pt x="215900" y="239753"/>
                      <a:pt x="215900" y="226418"/>
                    </a:cubicBezTo>
                    <a:cubicBezTo>
                      <a:pt x="215265" y="205463"/>
                      <a:pt x="203835" y="181333"/>
                      <a:pt x="187960" y="165458"/>
                    </a:cubicBezTo>
                    <a:close/>
                  </a:path>
                </a:pathLst>
              </a:custGeom>
              <a:solidFill>
                <a:srgbClr val="B2B5CE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7" name="任意多边形: 形状 326"/>
              <p:cNvSpPr/>
              <p:nvPr/>
            </p:nvSpPr>
            <p:spPr>
              <a:xfrm flipH="1">
                <a:off x="1483657" y="1877060"/>
                <a:ext cx="273050" cy="254000"/>
              </a:xfrm>
              <a:custGeom>
                <a:avLst/>
                <a:gdLst>
                  <a:gd name="connsiteX0" fmla="*/ 266064 w 273050"/>
                  <a:gd name="connsiteY0" fmla="*/ 249555 h 254000"/>
                  <a:gd name="connsiteX1" fmla="*/ 267335 w 273050"/>
                  <a:gd name="connsiteY1" fmla="*/ 248285 h 254000"/>
                  <a:gd name="connsiteX2" fmla="*/ 268605 w 273050"/>
                  <a:gd name="connsiteY2" fmla="*/ 247015 h 254000"/>
                  <a:gd name="connsiteX3" fmla="*/ 269239 w 273050"/>
                  <a:gd name="connsiteY3" fmla="*/ 245745 h 254000"/>
                  <a:gd name="connsiteX4" fmla="*/ 270510 w 273050"/>
                  <a:gd name="connsiteY4" fmla="*/ 243840 h 254000"/>
                  <a:gd name="connsiteX5" fmla="*/ 271145 w 273050"/>
                  <a:gd name="connsiteY5" fmla="*/ 242570 h 254000"/>
                  <a:gd name="connsiteX6" fmla="*/ 271780 w 273050"/>
                  <a:gd name="connsiteY6" fmla="*/ 240665 h 254000"/>
                  <a:gd name="connsiteX7" fmla="*/ 272414 w 273050"/>
                  <a:gd name="connsiteY7" fmla="*/ 239395 h 254000"/>
                  <a:gd name="connsiteX8" fmla="*/ 273050 w 273050"/>
                  <a:gd name="connsiteY8" fmla="*/ 236855 h 254000"/>
                  <a:gd name="connsiteX9" fmla="*/ 273685 w 273050"/>
                  <a:gd name="connsiteY9" fmla="*/ 235585 h 254000"/>
                  <a:gd name="connsiteX10" fmla="*/ 274320 w 273050"/>
                  <a:gd name="connsiteY10" fmla="*/ 232410 h 254000"/>
                  <a:gd name="connsiteX11" fmla="*/ 274320 w 273050"/>
                  <a:gd name="connsiteY11" fmla="*/ 231140 h 254000"/>
                  <a:gd name="connsiteX12" fmla="*/ 274320 w 273050"/>
                  <a:gd name="connsiteY12" fmla="*/ 226060 h 254000"/>
                  <a:gd name="connsiteX13" fmla="*/ 247014 w 273050"/>
                  <a:gd name="connsiteY13" fmla="*/ 164465 h 254000"/>
                  <a:gd name="connsiteX14" fmla="*/ 194310 w 273050"/>
                  <a:gd name="connsiteY14" fmla="*/ 85090 h 254000"/>
                  <a:gd name="connsiteX15" fmla="*/ 186689 w 273050"/>
                  <a:gd name="connsiteY15" fmla="*/ 81280 h 254000"/>
                  <a:gd name="connsiteX16" fmla="*/ 128270 w 273050"/>
                  <a:gd name="connsiteY16" fmla="*/ 12065 h 254000"/>
                  <a:gd name="connsiteX17" fmla="*/ 121285 w 273050"/>
                  <a:gd name="connsiteY17" fmla="*/ 8890 h 254000"/>
                  <a:gd name="connsiteX18" fmla="*/ 119380 w 273050"/>
                  <a:gd name="connsiteY18" fmla="*/ 8255 h 254000"/>
                  <a:gd name="connsiteX19" fmla="*/ 114935 w 273050"/>
                  <a:gd name="connsiteY19" fmla="*/ 6350 h 254000"/>
                  <a:gd name="connsiteX20" fmla="*/ 113030 w 273050"/>
                  <a:gd name="connsiteY20" fmla="*/ 5715 h 254000"/>
                  <a:gd name="connsiteX21" fmla="*/ 108585 w 273050"/>
                  <a:gd name="connsiteY21" fmla="*/ 4445 h 254000"/>
                  <a:gd name="connsiteX22" fmla="*/ 106680 w 273050"/>
                  <a:gd name="connsiteY22" fmla="*/ 3810 h 254000"/>
                  <a:gd name="connsiteX23" fmla="*/ 100964 w 273050"/>
                  <a:gd name="connsiteY23" fmla="*/ 3175 h 254000"/>
                  <a:gd name="connsiteX24" fmla="*/ 99695 w 273050"/>
                  <a:gd name="connsiteY24" fmla="*/ 3175 h 254000"/>
                  <a:gd name="connsiteX25" fmla="*/ 95250 w 273050"/>
                  <a:gd name="connsiteY25" fmla="*/ 3175 h 254000"/>
                  <a:gd name="connsiteX26" fmla="*/ 93345 w 273050"/>
                  <a:gd name="connsiteY26" fmla="*/ 3175 h 254000"/>
                  <a:gd name="connsiteX27" fmla="*/ 89535 w 273050"/>
                  <a:gd name="connsiteY27" fmla="*/ 3810 h 254000"/>
                  <a:gd name="connsiteX28" fmla="*/ 87630 w 273050"/>
                  <a:gd name="connsiteY28" fmla="*/ 3810 h 254000"/>
                  <a:gd name="connsiteX29" fmla="*/ 83185 w 273050"/>
                  <a:gd name="connsiteY29" fmla="*/ 5080 h 254000"/>
                  <a:gd name="connsiteX30" fmla="*/ 82550 w 273050"/>
                  <a:gd name="connsiteY30" fmla="*/ 5080 h 254000"/>
                  <a:gd name="connsiteX31" fmla="*/ 78105 w 273050"/>
                  <a:gd name="connsiteY31" fmla="*/ 6985 h 254000"/>
                  <a:gd name="connsiteX32" fmla="*/ 69214 w 273050"/>
                  <a:gd name="connsiteY32" fmla="*/ 14605 h 254000"/>
                  <a:gd name="connsiteX33" fmla="*/ 60960 w 273050"/>
                  <a:gd name="connsiteY33" fmla="*/ 27940 h 254000"/>
                  <a:gd name="connsiteX34" fmla="*/ 57150 w 273050"/>
                  <a:gd name="connsiteY34" fmla="*/ 25400 h 254000"/>
                  <a:gd name="connsiteX35" fmla="*/ 51435 w 273050"/>
                  <a:gd name="connsiteY35" fmla="*/ 22225 h 254000"/>
                  <a:gd name="connsiteX36" fmla="*/ 49530 w 273050"/>
                  <a:gd name="connsiteY36" fmla="*/ 21590 h 254000"/>
                  <a:gd name="connsiteX37" fmla="*/ 46355 w 273050"/>
                  <a:gd name="connsiteY37" fmla="*/ 20320 h 254000"/>
                  <a:gd name="connsiteX38" fmla="*/ 44450 w 273050"/>
                  <a:gd name="connsiteY38" fmla="*/ 19685 h 254000"/>
                  <a:gd name="connsiteX39" fmla="*/ 41275 w 273050"/>
                  <a:gd name="connsiteY39" fmla="*/ 19050 h 254000"/>
                  <a:gd name="connsiteX40" fmla="*/ 39370 w 273050"/>
                  <a:gd name="connsiteY40" fmla="*/ 18415 h 254000"/>
                  <a:gd name="connsiteX41" fmla="*/ 36195 w 273050"/>
                  <a:gd name="connsiteY41" fmla="*/ 17780 h 254000"/>
                  <a:gd name="connsiteX42" fmla="*/ 34289 w 273050"/>
                  <a:gd name="connsiteY42" fmla="*/ 17780 h 254000"/>
                  <a:gd name="connsiteX43" fmla="*/ 31750 w 273050"/>
                  <a:gd name="connsiteY43" fmla="*/ 17780 h 254000"/>
                  <a:gd name="connsiteX44" fmla="*/ 29845 w 273050"/>
                  <a:gd name="connsiteY44" fmla="*/ 17780 h 254000"/>
                  <a:gd name="connsiteX45" fmla="*/ 27305 w 273050"/>
                  <a:gd name="connsiteY45" fmla="*/ 17780 h 254000"/>
                  <a:gd name="connsiteX46" fmla="*/ 25400 w 273050"/>
                  <a:gd name="connsiteY46" fmla="*/ 18415 h 254000"/>
                  <a:gd name="connsiteX47" fmla="*/ 22860 w 273050"/>
                  <a:gd name="connsiteY47" fmla="*/ 19050 h 254000"/>
                  <a:gd name="connsiteX48" fmla="*/ 20955 w 273050"/>
                  <a:gd name="connsiteY48" fmla="*/ 19685 h 254000"/>
                  <a:gd name="connsiteX49" fmla="*/ 19050 w 273050"/>
                  <a:gd name="connsiteY49" fmla="*/ 20955 h 254000"/>
                  <a:gd name="connsiteX50" fmla="*/ 3175 w 273050"/>
                  <a:gd name="connsiteY50" fmla="*/ 55880 h 254000"/>
                  <a:gd name="connsiteX51" fmla="*/ 57150 w 273050"/>
                  <a:gd name="connsiteY51" fmla="*/ 149225 h 254000"/>
                  <a:gd name="connsiteX52" fmla="*/ 231775 w 273050"/>
                  <a:gd name="connsiteY52" fmla="*/ 250190 h 254000"/>
                  <a:gd name="connsiteX53" fmla="*/ 263525 w 273050"/>
                  <a:gd name="connsiteY53" fmla="*/ 252095 h 254000"/>
                  <a:gd name="connsiteX54" fmla="*/ 264795 w 273050"/>
                  <a:gd name="connsiteY54" fmla="*/ 251460 h 254000"/>
                  <a:gd name="connsiteX55" fmla="*/ 266064 w 273050"/>
                  <a:gd name="connsiteY55" fmla="*/ 249555 h 25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273050" h="254000">
                    <a:moveTo>
                      <a:pt x="266064" y="249555"/>
                    </a:moveTo>
                    <a:cubicBezTo>
                      <a:pt x="266700" y="248920"/>
                      <a:pt x="266700" y="248920"/>
                      <a:pt x="267335" y="248285"/>
                    </a:cubicBezTo>
                    <a:cubicBezTo>
                      <a:pt x="267970" y="247650"/>
                      <a:pt x="267970" y="247015"/>
                      <a:pt x="268605" y="247015"/>
                    </a:cubicBezTo>
                    <a:cubicBezTo>
                      <a:pt x="268605" y="246380"/>
                      <a:pt x="269239" y="246380"/>
                      <a:pt x="269239" y="245745"/>
                    </a:cubicBezTo>
                    <a:cubicBezTo>
                      <a:pt x="269875" y="245110"/>
                      <a:pt x="269875" y="244475"/>
                      <a:pt x="270510" y="243840"/>
                    </a:cubicBezTo>
                    <a:cubicBezTo>
                      <a:pt x="270510" y="243205"/>
                      <a:pt x="271145" y="243205"/>
                      <a:pt x="271145" y="242570"/>
                    </a:cubicBezTo>
                    <a:cubicBezTo>
                      <a:pt x="271145" y="241935"/>
                      <a:pt x="271780" y="241300"/>
                      <a:pt x="271780" y="240665"/>
                    </a:cubicBezTo>
                    <a:cubicBezTo>
                      <a:pt x="271780" y="240030"/>
                      <a:pt x="272414" y="239395"/>
                      <a:pt x="272414" y="239395"/>
                    </a:cubicBezTo>
                    <a:cubicBezTo>
                      <a:pt x="272414" y="238760"/>
                      <a:pt x="273050" y="237490"/>
                      <a:pt x="273050" y="236855"/>
                    </a:cubicBezTo>
                    <a:cubicBezTo>
                      <a:pt x="273050" y="236220"/>
                      <a:pt x="273050" y="235585"/>
                      <a:pt x="273685" y="235585"/>
                    </a:cubicBezTo>
                    <a:cubicBezTo>
                      <a:pt x="273685" y="234315"/>
                      <a:pt x="274320" y="233680"/>
                      <a:pt x="274320" y="232410"/>
                    </a:cubicBezTo>
                    <a:cubicBezTo>
                      <a:pt x="274320" y="231775"/>
                      <a:pt x="274320" y="231775"/>
                      <a:pt x="274320" y="231140"/>
                    </a:cubicBezTo>
                    <a:cubicBezTo>
                      <a:pt x="274320" y="229870"/>
                      <a:pt x="274320" y="227965"/>
                      <a:pt x="274320" y="226060"/>
                    </a:cubicBezTo>
                    <a:cubicBezTo>
                      <a:pt x="274320" y="205105"/>
                      <a:pt x="262889" y="180975"/>
                      <a:pt x="247014" y="164465"/>
                    </a:cubicBezTo>
                    <a:cubicBezTo>
                      <a:pt x="241935" y="133350"/>
                      <a:pt x="220345" y="100330"/>
                      <a:pt x="194310" y="85090"/>
                    </a:cubicBezTo>
                    <a:cubicBezTo>
                      <a:pt x="191770" y="83820"/>
                      <a:pt x="189230" y="82550"/>
                      <a:pt x="186689" y="81280"/>
                    </a:cubicBezTo>
                    <a:cubicBezTo>
                      <a:pt x="173989" y="52705"/>
                      <a:pt x="152400" y="26035"/>
                      <a:pt x="128270" y="12065"/>
                    </a:cubicBezTo>
                    <a:cubicBezTo>
                      <a:pt x="125730" y="10795"/>
                      <a:pt x="123825" y="9525"/>
                      <a:pt x="121285" y="8890"/>
                    </a:cubicBezTo>
                    <a:cubicBezTo>
                      <a:pt x="120650" y="8255"/>
                      <a:pt x="120014" y="8255"/>
                      <a:pt x="119380" y="8255"/>
                    </a:cubicBezTo>
                    <a:cubicBezTo>
                      <a:pt x="118110" y="7620"/>
                      <a:pt x="116205" y="6985"/>
                      <a:pt x="114935" y="6350"/>
                    </a:cubicBezTo>
                    <a:cubicBezTo>
                      <a:pt x="114300" y="6350"/>
                      <a:pt x="113664" y="5715"/>
                      <a:pt x="113030" y="5715"/>
                    </a:cubicBezTo>
                    <a:cubicBezTo>
                      <a:pt x="111760" y="5080"/>
                      <a:pt x="109855" y="5080"/>
                      <a:pt x="108585" y="4445"/>
                    </a:cubicBezTo>
                    <a:cubicBezTo>
                      <a:pt x="107950" y="4445"/>
                      <a:pt x="107314" y="4445"/>
                      <a:pt x="106680" y="3810"/>
                    </a:cubicBezTo>
                    <a:cubicBezTo>
                      <a:pt x="104775" y="3175"/>
                      <a:pt x="102870" y="3175"/>
                      <a:pt x="100964" y="3175"/>
                    </a:cubicBezTo>
                    <a:cubicBezTo>
                      <a:pt x="100330" y="3175"/>
                      <a:pt x="100330" y="3175"/>
                      <a:pt x="99695" y="3175"/>
                    </a:cubicBezTo>
                    <a:cubicBezTo>
                      <a:pt x="98425" y="3175"/>
                      <a:pt x="96520" y="3175"/>
                      <a:pt x="95250" y="3175"/>
                    </a:cubicBezTo>
                    <a:cubicBezTo>
                      <a:pt x="94614" y="3175"/>
                      <a:pt x="93980" y="3175"/>
                      <a:pt x="93345" y="3175"/>
                    </a:cubicBezTo>
                    <a:cubicBezTo>
                      <a:pt x="92075" y="3175"/>
                      <a:pt x="90805" y="3175"/>
                      <a:pt x="89535" y="3810"/>
                    </a:cubicBezTo>
                    <a:cubicBezTo>
                      <a:pt x="88900" y="3810"/>
                      <a:pt x="88264" y="3810"/>
                      <a:pt x="87630" y="3810"/>
                    </a:cubicBezTo>
                    <a:cubicBezTo>
                      <a:pt x="86360" y="4445"/>
                      <a:pt x="84455" y="4445"/>
                      <a:pt x="83185" y="5080"/>
                    </a:cubicBezTo>
                    <a:cubicBezTo>
                      <a:pt x="83185" y="5080"/>
                      <a:pt x="82550" y="5080"/>
                      <a:pt x="82550" y="5080"/>
                    </a:cubicBezTo>
                    <a:cubicBezTo>
                      <a:pt x="80645" y="5715"/>
                      <a:pt x="79375" y="6350"/>
                      <a:pt x="78105" y="6985"/>
                    </a:cubicBezTo>
                    <a:cubicBezTo>
                      <a:pt x="74930" y="8890"/>
                      <a:pt x="71755" y="11430"/>
                      <a:pt x="69214" y="14605"/>
                    </a:cubicBezTo>
                    <a:cubicBezTo>
                      <a:pt x="66039" y="18415"/>
                      <a:pt x="63500" y="22860"/>
                      <a:pt x="60960" y="27940"/>
                    </a:cubicBezTo>
                    <a:cubicBezTo>
                      <a:pt x="59689" y="27305"/>
                      <a:pt x="58420" y="26035"/>
                      <a:pt x="57150" y="25400"/>
                    </a:cubicBezTo>
                    <a:cubicBezTo>
                      <a:pt x="55245" y="24130"/>
                      <a:pt x="53339" y="23495"/>
                      <a:pt x="51435" y="22225"/>
                    </a:cubicBezTo>
                    <a:cubicBezTo>
                      <a:pt x="50800" y="22225"/>
                      <a:pt x="50164" y="21590"/>
                      <a:pt x="49530" y="21590"/>
                    </a:cubicBezTo>
                    <a:cubicBezTo>
                      <a:pt x="48260" y="20955"/>
                      <a:pt x="46989" y="20320"/>
                      <a:pt x="46355" y="20320"/>
                    </a:cubicBezTo>
                    <a:cubicBezTo>
                      <a:pt x="45720" y="20320"/>
                      <a:pt x="45085" y="19685"/>
                      <a:pt x="44450" y="19685"/>
                    </a:cubicBezTo>
                    <a:cubicBezTo>
                      <a:pt x="43180" y="19685"/>
                      <a:pt x="42545" y="19050"/>
                      <a:pt x="41275" y="19050"/>
                    </a:cubicBezTo>
                    <a:cubicBezTo>
                      <a:pt x="40639" y="19050"/>
                      <a:pt x="40005" y="19050"/>
                      <a:pt x="39370" y="18415"/>
                    </a:cubicBezTo>
                    <a:cubicBezTo>
                      <a:pt x="38100" y="18415"/>
                      <a:pt x="37464" y="17780"/>
                      <a:pt x="36195" y="17780"/>
                    </a:cubicBezTo>
                    <a:cubicBezTo>
                      <a:pt x="35560" y="17780"/>
                      <a:pt x="34925" y="17780"/>
                      <a:pt x="34289" y="17780"/>
                    </a:cubicBezTo>
                    <a:cubicBezTo>
                      <a:pt x="33655" y="17780"/>
                      <a:pt x="32385" y="17780"/>
                      <a:pt x="31750" y="17780"/>
                    </a:cubicBezTo>
                    <a:cubicBezTo>
                      <a:pt x="31114" y="17780"/>
                      <a:pt x="30480" y="17780"/>
                      <a:pt x="29845" y="17780"/>
                    </a:cubicBezTo>
                    <a:cubicBezTo>
                      <a:pt x="29210" y="17780"/>
                      <a:pt x="27939" y="17780"/>
                      <a:pt x="27305" y="17780"/>
                    </a:cubicBezTo>
                    <a:cubicBezTo>
                      <a:pt x="26670" y="17780"/>
                      <a:pt x="26035" y="18415"/>
                      <a:pt x="25400" y="18415"/>
                    </a:cubicBezTo>
                    <a:cubicBezTo>
                      <a:pt x="24764" y="18415"/>
                      <a:pt x="24130" y="19050"/>
                      <a:pt x="22860" y="19050"/>
                    </a:cubicBezTo>
                    <a:cubicBezTo>
                      <a:pt x="22225" y="19050"/>
                      <a:pt x="21589" y="19685"/>
                      <a:pt x="20955" y="19685"/>
                    </a:cubicBezTo>
                    <a:cubicBezTo>
                      <a:pt x="20320" y="19685"/>
                      <a:pt x="19685" y="20320"/>
                      <a:pt x="19050" y="20955"/>
                    </a:cubicBezTo>
                    <a:cubicBezTo>
                      <a:pt x="9525" y="26670"/>
                      <a:pt x="3175" y="38735"/>
                      <a:pt x="3175" y="55880"/>
                    </a:cubicBezTo>
                    <a:cubicBezTo>
                      <a:pt x="3175" y="90170"/>
                      <a:pt x="27305" y="131445"/>
                      <a:pt x="57150" y="149225"/>
                    </a:cubicBezTo>
                    <a:lnTo>
                      <a:pt x="231775" y="250190"/>
                    </a:lnTo>
                    <a:cubicBezTo>
                      <a:pt x="244475" y="257175"/>
                      <a:pt x="255905" y="257810"/>
                      <a:pt x="263525" y="252095"/>
                    </a:cubicBezTo>
                    <a:cubicBezTo>
                      <a:pt x="264160" y="252095"/>
                      <a:pt x="264160" y="251460"/>
                      <a:pt x="264795" y="251460"/>
                    </a:cubicBezTo>
                    <a:cubicBezTo>
                      <a:pt x="265430" y="250825"/>
                      <a:pt x="265430" y="250190"/>
                      <a:pt x="266064" y="249555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8" name="任意多边形: 形状 327"/>
              <p:cNvSpPr/>
              <p:nvPr/>
            </p:nvSpPr>
            <p:spPr>
              <a:xfrm flipH="1">
                <a:off x="5303499" y="1865284"/>
                <a:ext cx="406400" cy="495300"/>
              </a:xfrm>
              <a:custGeom>
                <a:avLst/>
                <a:gdLst>
                  <a:gd name="connsiteX0" fmla="*/ 352107 w 406400"/>
                  <a:gd name="connsiteY0" fmla="*/ 309592 h 495300"/>
                  <a:gd name="connsiteX1" fmla="*/ 253682 w 406400"/>
                  <a:gd name="connsiteY1" fmla="*/ 160367 h 495300"/>
                  <a:gd name="connsiteX2" fmla="*/ 239078 w 406400"/>
                  <a:gd name="connsiteY2" fmla="*/ 153381 h 495300"/>
                  <a:gd name="connsiteX3" fmla="*/ 129222 w 406400"/>
                  <a:gd name="connsiteY3" fmla="*/ 23206 h 495300"/>
                  <a:gd name="connsiteX4" fmla="*/ 33972 w 406400"/>
                  <a:gd name="connsiteY4" fmla="*/ 13681 h 495300"/>
                  <a:gd name="connsiteX5" fmla="*/ 4763 w 406400"/>
                  <a:gd name="connsiteY5" fmla="*/ 30827 h 495300"/>
                  <a:gd name="connsiteX6" fmla="*/ 5397 w 406400"/>
                  <a:gd name="connsiteY6" fmla="*/ 30191 h 495300"/>
                  <a:gd name="connsiteX7" fmla="*/ 14288 w 406400"/>
                  <a:gd name="connsiteY7" fmla="*/ 26381 h 495300"/>
                  <a:gd name="connsiteX8" fmla="*/ 15557 w 406400"/>
                  <a:gd name="connsiteY8" fmla="*/ 25746 h 495300"/>
                  <a:gd name="connsiteX9" fmla="*/ 23813 w 406400"/>
                  <a:gd name="connsiteY9" fmla="*/ 23206 h 495300"/>
                  <a:gd name="connsiteX10" fmla="*/ 26988 w 406400"/>
                  <a:gd name="connsiteY10" fmla="*/ 22571 h 495300"/>
                  <a:gd name="connsiteX11" fmla="*/ 33972 w 406400"/>
                  <a:gd name="connsiteY11" fmla="*/ 21936 h 495300"/>
                  <a:gd name="connsiteX12" fmla="*/ 37147 w 406400"/>
                  <a:gd name="connsiteY12" fmla="*/ 21936 h 495300"/>
                  <a:gd name="connsiteX13" fmla="*/ 45403 w 406400"/>
                  <a:gd name="connsiteY13" fmla="*/ 21936 h 495300"/>
                  <a:gd name="connsiteX14" fmla="*/ 47943 w 406400"/>
                  <a:gd name="connsiteY14" fmla="*/ 21936 h 495300"/>
                  <a:gd name="connsiteX15" fmla="*/ 59372 w 406400"/>
                  <a:gd name="connsiteY15" fmla="*/ 23841 h 495300"/>
                  <a:gd name="connsiteX16" fmla="*/ 62547 w 406400"/>
                  <a:gd name="connsiteY16" fmla="*/ 24477 h 495300"/>
                  <a:gd name="connsiteX17" fmla="*/ 71438 w 406400"/>
                  <a:gd name="connsiteY17" fmla="*/ 27016 h 495300"/>
                  <a:gd name="connsiteX18" fmla="*/ 75247 w 406400"/>
                  <a:gd name="connsiteY18" fmla="*/ 28286 h 495300"/>
                  <a:gd name="connsiteX19" fmla="*/ 84138 w 406400"/>
                  <a:gd name="connsiteY19" fmla="*/ 31461 h 495300"/>
                  <a:gd name="connsiteX20" fmla="*/ 87947 w 406400"/>
                  <a:gd name="connsiteY20" fmla="*/ 33366 h 495300"/>
                  <a:gd name="connsiteX21" fmla="*/ 100647 w 406400"/>
                  <a:gd name="connsiteY21" fmla="*/ 39716 h 495300"/>
                  <a:gd name="connsiteX22" fmla="*/ 210503 w 406400"/>
                  <a:gd name="connsiteY22" fmla="*/ 169892 h 495300"/>
                  <a:gd name="connsiteX23" fmla="*/ 225107 w 406400"/>
                  <a:gd name="connsiteY23" fmla="*/ 176877 h 495300"/>
                  <a:gd name="connsiteX24" fmla="*/ 323532 w 406400"/>
                  <a:gd name="connsiteY24" fmla="*/ 326102 h 495300"/>
                  <a:gd name="connsiteX25" fmla="*/ 374332 w 406400"/>
                  <a:gd name="connsiteY25" fmla="*/ 441036 h 495300"/>
                  <a:gd name="connsiteX26" fmla="*/ 373697 w 406400"/>
                  <a:gd name="connsiteY26" fmla="*/ 449927 h 495300"/>
                  <a:gd name="connsiteX27" fmla="*/ 373063 w 406400"/>
                  <a:gd name="connsiteY27" fmla="*/ 452467 h 495300"/>
                  <a:gd name="connsiteX28" fmla="*/ 372428 w 406400"/>
                  <a:gd name="connsiteY28" fmla="*/ 458181 h 495300"/>
                  <a:gd name="connsiteX29" fmla="*/ 371793 w 406400"/>
                  <a:gd name="connsiteY29" fmla="*/ 461356 h 495300"/>
                  <a:gd name="connsiteX30" fmla="*/ 370522 w 406400"/>
                  <a:gd name="connsiteY30" fmla="*/ 465802 h 495300"/>
                  <a:gd name="connsiteX31" fmla="*/ 369253 w 406400"/>
                  <a:gd name="connsiteY31" fmla="*/ 468977 h 495300"/>
                  <a:gd name="connsiteX32" fmla="*/ 367982 w 406400"/>
                  <a:gd name="connsiteY32" fmla="*/ 472786 h 495300"/>
                  <a:gd name="connsiteX33" fmla="*/ 366713 w 406400"/>
                  <a:gd name="connsiteY33" fmla="*/ 475327 h 495300"/>
                  <a:gd name="connsiteX34" fmla="*/ 364807 w 406400"/>
                  <a:gd name="connsiteY34" fmla="*/ 478502 h 495300"/>
                  <a:gd name="connsiteX35" fmla="*/ 362903 w 406400"/>
                  <a:gd name="connsiteY35" fmla="*/ 481042 h 495300"/>
                  <a:gd name="connsiteX36" fmla="*/ 360363 w 406400"/>
                  <a:gd name="connsiteY36" fmla="*/ 484217 h 495300"/>
                  <a:gd name="connsiteX37" fmla="*/ 358457 w 406400"/>
                  <a:gd name="connsiteY37" fmla="*/ 486121 h 495300"/>
                  <a:gd name="connsiteX38" fmla="*/ 355918 w 406400"/>
                  <a:gd name="connsiteY38" fmla="*/ 488661 h 495300"/>
                  <a:gd name="connsiteX39" fmla="*/ 353378 w 406400"/>
                  <a:gd name="connsiteY39" fmla="*/ 490567 h 495300"/>
                  <a:gd name="connsiteX40" fmla="*/ 350838 w 406400"/>
                  <a:gd name="connsiteY40" fmla="*/ 492471 h 495300"/>
                  <a:gd name="connsiteX41" fmla="*/ 380047 w 406400"/>
                  <a:gd name="connsiteY41" fmla="*/ 475327 h 495300"/>
                  <a:gd name="connsiteX42" fmla="*/ 403543 w 406400"/>
                  <a:gd name="connsiteY42" fmla="*/ 423892 h 495300"/>
                  <a:gd name="connsiteX43" fmla="*/ 352107 w 406400"/>
                  <a:gd name="connsiteY43" fmla="*/ 309592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06400" h="495300">
                    <a:moveTo>
                      <a:pt x="352107" y="309592"/>
                    </a:moveTo>
                    <a:cubicBezTo>
                      <a:pt x="342582" y="251171"/>
                      <a:pt x="301943" y="188306"/>
                      <a:pt x="253682" y="160367"/>
                    </a:cubicBezTo>
                    <a:cubicBezTo>
                      <a:pt x="248603" y="157192"/>
                      <a:pt x="243522" y="155286"/>
                      <a:pt x="239078" y="153381"/>
                    </a:cubicBezTo>
                    <a:cubicBezTo>
                      <a:pt x="214947" y="99406"/>
                      <a:pt x="174943" y="49877"/>
                      <a:pt x="129222" y="23206"/>
                    </a:cubicBezTo>
                    <a:cubicBezTo>
                      <a:pt x="91757" y="1616"/>
                      <a:pt x="58103" y="-289"/>
                      <a:pt x="33972" y="13681"/>
                    </a:cubicBezTo>
                    <a:lnTo>
                      <a:pt x="4763" y="30827"/>
                    </a:lnTo>
                    <a:cubicBezTo>
                      <a:pt x="4763" y="30827"/>
                      <a:pt x="5397" y="30827"/>
                      <a:pt x="5397" y="30191"/>
                    </a:cubicBezTo>
                    <a:cubicBezTo>
                      <a:pt x="7938" y="28921"/>
                      <a:pt x="11113" y="27016"/>
                      <a:pt x="14288" y="26381"/>
                    </a:cubicBezTo>
                    <a:cubicBezTo>
                      <a:pt x="14922" y="26381"/>
                      <a:pt x="14922" y="26381"/>
                      <a:pt x="15557" y="25746"/>
                    </a:cubicBezTo>
                    <a:cubicBezTo>
                      <a:pt x="18097" y="25111"/>
                      <a:pt x="20638" y="23841"/>
                      <a:pt x="23813" y="23206"/>
                    </a:cubicBezTo>
                    <a:cubicBezTo>
                      <a:pt x="25082" y="23206"/>
                      <a:pt x="25718" y="22571"/>
                      <a:pt x="26988" y="22571"/>
                    </a:cubicBezTo>
                    <a:cubicBezTo>
                      <a:pt x="29528" y="21936"/>
                      <a:pt x="31432" y="21936"/>
                      <a:pt x="33972" y="21936"/>
                    </a:cubicBezTo>
                    <a:cubicBezTo>
                      <a:pt x="35243" y="21936"/>
                      <a:pt x="36513" y="21936"/>
                      <a:pt x="37147" y="21936"/>
                    </a:cubicBezTo>
                    <a:cubicBezTo>
                      <a:pt x="39688" y="21936"/>
                      <a:pt x="42863" y="21936"/>
                      <a:pt x="45403" y="21936"/>
                    </a:cubicBezTo>
                    <a:cubicBezTo>
                      <a:pt x="46038" y="21936"/>
                      <a:pt x="46672" y="21936"/>
                      <a:pt x="47943" y="21936"/>
                    </a:cubicBezTo>
                    <a:cubicBezTo>
                      <a:pt x="51753" y="22571"/>
                      <a:pt x="55563" y="22571"/>
                      <a:pt x="59372" y="23841"/>
                    </a:cubicBezTo>
                    <a:cubicBezTo>
                      <a:pt x="60643" y="23841"/>
                      <a:pt x="61278" y="24477"/>
                      <a:pt x="62547" y="24477"/>
                    </a:cubicBezTo>
                    <a:cubicBezTo>
                      <a:pt x="65722" y="25111"/>
                      <a:pt x="68263" y="25746"/>
                      <a:pt x="71438" y="27016"/>
                    </a:cubicBezTo>
                    <a:cubicBezTo>
                      <a:pt x="72707" y="27652"/>
                      <a:pt x="73978" y="27652"/>
                      <a:pt x="75247" y="28286"/>
                    </a:cubicBezTo>
                    <a:cubicBezTo>
                      <a:pt x="77788" y="29556"/>
                      <a:pt x="80963" y="30191"/>
                      <a:pt x="84138" y="31461"/>
                    </a:cubicBezTo>
                    <a:cubicBezTo>
                      <a:pt x="85407" y="32096"/>
                      <a:pt x="86678" y="32731"/>
                      <a:pt x="87947" y="33366"/>
                    </a:cubicBezTo>
                    <a:cubicBezTo>
                      <a:pt x="92393" y="35271"/>
                      <a:pt x="96203" y="37177"/>
                      <a:pt x="100647" y="39716"/>
                    </a:cubicBezTo>
                    <a:cubicBezTo>
                      <a:pt x="146368" y="65752"/>
                      <a:pt x="186372" y="115281"/>
                      <a:pt x="210503" y="169892"/>
                    </a:cubicBezTo>
                    <a:cubicBezTo>
                      <a:pt x="215582" y="171796"/>
                      <a:pt x="220028" y="174336"/>
                      <a:pt x="225107" y="176877"/>
                    </a:cubicBezTo>
                    <a:cubicBezTo>
                      <a:pt x="274003" y="204817"/>
                      <a:pt x="314007" y="267681"/>
                      <a:pt x="323532" y="326102"/>
                    </a:cubicBezTo>
                    <a:cubicBezTo>
                      <a:pt x="353378" y="356581"/>
                      <a:pt x="374332" y="402302"/>
                      <a:pt x="374332" y="441036"/>
                    </a:cubicBezTo>
                    <a:cubicBezTo>
                      <a:pt x="374332" y="444211"/>
                      <a:pt x="374332" y="447386"/>
                      <a:pt x="373697" y="449927"/>
                    </a:cubicBezTo>
                    <a:cubicBezTo>
                      <a:pt x="373697" y="450561"/>
                      <a:pt x="373697" y="451831"/>
                      <a:pt x="373063" y="452467"/>
                    </a:cubicBezTo>
                    <a:cubicBezTo>
                      <a:pt x="373063" y="454371"/>
                      <a:pt x="372428" y="456277"/>
                      <a:pt x="372428" y="458181"/>
                    </a:cubicBezTo>
                    <a:cubicBezTo>
                      <a:pt x="372428" y="459452"/>
                      <a:pt x="371793" y="460086"/>
                      <a:pt x="371793" y="461356"/>
                    </a:cubicBezTo>
                    <a:cubicBezTo>
                      <a:pt x="371157" y="463261"/>
                      <a:pt x="371157" y="464531"/>
                      <a:pt x="370522" y="465802"/>
                    </a:cubicBezTo>
                    <a:cubicBezTo>
                      <a:pt x="369888" y="467071"/>
                      <a:pt x="369888" y="467706"/>
                      <a:pt x="369253" y="468977"/>
                    </a:cubicBezTo>
                    <a:cubicBezTo>
                      <a:pt x="368618" y="470246"/>
                      <a:pt x="367982" y="471517"/>
                      <a:pt x="367982" y="472786"/>
                    </a:cubicBezTo>
                    <a:cubicBezTo>
                      <a:pt x="367347" y="473421"/>
                      <a:pt x="366713" y="474692"/>
                      <a:pt x="366713" y="475327"/>
                    </a:cubicBezTo>
                    <a:cubicBezTo>
                      <a:pt x="366078" y="476596"/>
                      <a:pt x="365443" y="477867"/>
                      <a:pt x="364807" y="478502"/>
                    </a:cubicBezTo>
                    <a:cubicBezTo>
                      <a:pt x="364172" y="479136"/>
                      <a:pt x="363538" y="479771"/>
                      <a:pt x="362903" y="481042"/>
                    </a:cubicBezTo>
                    <a:cubicBezTo>
                      <a:pt x="362268" y="482311"/>
                      <a:pt x="361632" y="482946"/>
                      <a:pt x="360363" y="484217"/>
                    </a:cubicBezTo>
                    <a:cubicBezTo>
                      <a:pt x="359728" y="484852"/>
                      <a:pt x="359093" y="485486"/>
                      <a:pt x="358457" y="486121"/>
                    </a:cubicBezTo>
                    <a:cubicBezTo>
                      <a:pt x="357822" y="486756"/>
                      <a:pt x="356553" y="488027"/>
                      <a:pt x="355918" y="488661"/>
                    </a:cubicBezTo>
                    <a:cubicBezTo>
                      <a:pt x="355282" y="489296"/>
                      <a:pt x="354647" y="489931"/>
                      <a:pt x="353378" y="490567"/>
                    </a:cubicBezTo>
                    <a:cubicBezTo>
                      <a:pt x="352743" y="491202"/>
                      <a:pt x="351472" y="491836"/>
                      <a:pt x="350838" y="492471"/>
                    </a:cubicBezTo>
                    <a:lnTo>
                      <a:pt x="380047" y="475327"/>
                    </a:lnTo>
                    <a:cubicBezTo>
                      <a:pt x="394653" y="467071"/>
                      <a:pt x="403543" y="449292"/>
                      <a:pt x="403543" y="423892"/>
                    </a:cubicBezTo>
                    <a:cubicBezTo>
                      <a:pt x="402907" y="385792"/>
                      <a:pt x="381953" y="340706"/>
                      <a:pt x="352107" y="309592"/>
                    </a:cubicBezTo>
                    <a:close/>
                  </a:path>
                </a:pathLst>
              </a:custGeom>
              <a:solidFill>
                <a:srgbClr val="B2B5C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9" name="任意多边形: 形状 328"/>
              <p:cNvSpPr/>
              <p:nvPr/>
            </p:nvSpPr>
            <p:spPr>
              <a:xfrm flipH="1">
                <a:off x="5336519" y="1883728"/>
                <a:ext cx="514350" cy="482600"/>
              </a:xfrm>
              <a:custGeom>
                <a:avLst/>
                <a:gdLst>
                  <a:gd name="connsiteX0" fmla="*/ 498792 w 514350"/>
                  <a:gd name="connsiteY0" fmla="*/ 468948 h 482600"/>
                  <a:gd name="connsiteX1" fmla="*/ 500697 w 514350"/>
                  <a:gd name="connsiteY1" fmla="*/ 467042 h 482600"/>
                  <a:gd name="connsiteX2" fmla="*/ 503238 w 514350"/>
                  <a:gd name="connsiteY2" fmla="*/ 463867 h 482600"/>
                  <a:gd name="connsiteX3" fmla="*/ 505142 w 514350"/>
                  <a:gd name="connsiteY3" fmla="*/ 461327 h 482600"/>
                  <a:gd name="connsiteX4" fmla="*/ 507047 w 514350"/>
                  <a:gd name="connsiteY4" fmla="*/ 458152 h 482600"/>
                  <a:gd name="connsiteX5" fmla="*/ 508317 w 514350"/>
                  <a:gd name="connsiteY5" fmla="*/ 455613 h 482600"/>
                  <a:gd name="connsiteX6" fmla="*/ 509588 w 514350"/>
                  <a:gd name="connsiteY6" fmla="*/ 451802 h 482600"/>
                  <a:gd name="connsiteX7" fmla="*/ 510857 w 514350"/>
                  <a:gd name="connsiteY7" fmla="*/ 448627 h 482600"/>
                  <a:gd name="connsiteX8" fmla="*/ 512127 w 514350"/>
                  <a:gd name="connsiteY8" fmla="*/ 444183 h 482600"/>
                  <a:gd name="connsiteX9" fmla="*/ 512763 w 514350"/>
                  <a:gd name="connsiteY9" fmla="*/ 441008 h 482600"/>
                  <a:gd name="connsiteX10" fmla="*/ 513397 w 514350"/>
                  <a:gd name="connsiteY10" fmla="*/ 435292 h 482600"/>
                  <a:gd name="connsiteX11" fmla="*/ 514032 w 514350"/>
                  <a:gd name="connsiteY11" fmla="*/ 432752 h 482600"/>
                  <a:gd name="connsiteX12" fmla="*/ 514667 w 514350"/>
                  <a:gd name="connsiteY12" fmla="*/ 423863 h 482600"/>
                  <a:gd name="connsiteX13" fmla="*/ 463867 w 514350"/>
                  <a:gd name="connsiteY13" fmla="*/ 308927 h 482600"/>
                  <a:gd name="connsiteX14" fmla="*/ 365442 w 514350"/>
                  <a:gd name="connsiteY14" fmla="*/ 159702 h 482600"/>
                  <a:gd name="connsiteX15" fmla="*/ 350838 w 514350"/>
                  <a:gd name="connsiteY15" fmla="*/ 152717 h 482600"/>
                  <a:gd name="connsiteX16" fmla="*/ 240982 w 514350"/>
                  <a:gd name="connsiteY16" fmla="*/ 22542 h 482600"/>
                  <a:gd name="connsiteX17" fmla="*/ 228282 w 514350"/>
                  <a:gd name="connsiteY17" fmla="*/ 16192 h 482600"/>
                  <a:gd name="connsiteX18" fmla="*/ 224472 w 514350"/>
                  <a:gd name="connsiteY18" fmla="*/ 14288 h 482600"/>
                  <a:gd name="connsiteX19" fmla="*/ 215582 w 514350"/>
                  <a:gd name="connsiteY19" fmla="*/ 11113 h 482600"/>
                  <a:gd name="connsiteX20" fmla="*/ 211772 w 514350"/>
                  <a:gd name="connsiteY20" fmla="*/ 9842 h 482600"/>
                  <a:gd name="connsiteX21" fmla="*/ 202882 w 514350"/>
                  <a:gd name="connsiteY21" fmla="*/ 7302 h 482600"/>
                  <a:gd name="connsiteX22" fmla="*/ 199707 w 514350"/>
                  <a:gd name="connsiteY22" fmla="*/ 6667 h 482600"/>
                  <a:gd name="connsiteX23" fmla="*/ 188277 w 514350"/>
                  <a:gd name="connsiteY23" fmla="*/ 4763 h 482600"/>
                  <a:gd name="connsiteX24" fmla="*/ 185738 w 514350"/>
                  <a:gd name="connsiteY24" fmla="*/ 4763 h 482600"/>
                  <a:gd name="connsiteX25" fmla="*/ 177482 w 514350"/>
                  <a:gd name="connsiteY25" fmla="*/ 4763 h 482600"/>
                  <a:gd name="connsiteX26" fmla="*/ 174307 w 514350"/>
                  <a:gd name="connsiteY26" fmla="*/ 4763 h 482600"/>
                  <a:gd name="connsiteX27" fmla="*/ 167322 w 514350"/>
                  <a:gd name="connsiteY27" fmla="*/ 5398 h 482600"/>
                  <a:gd name="connsiteX28" fmla="*/ 164147 w 514350"/>
                  <a:gd name="connsiteY28" fmla="*/ 6033 h 482600"/>
                  <a:gd name="connsiteX29" fmla="*/ 155892 w 514350"/>
                  <a:gd name="connsiteY29" fmla="*/ 8573 h 482600"/>
                  <a:gd name="connsiteX30" fmla="*/ 154622 w 514350"/>
                  <a:gd name="connsiteY30" fmla="*/ 9208 h 482600"/>
                  <a:gd name="connsiteX31" fmla="*/ 145732 w 514350"/>
                  <a:gd name="connsiteY31" fmla="*/ 13017 h 482600"/>
                  <a:gd name="connsiteX32" fmla="*/ 128588 w 514350"/>
                  <a:gd name="connsiteY32" fmla="*/ 26988 h 482600"/>
                  <a:gd name="connsiteX33" fmla="*/ 113982 w 514350"/>
                  <a:gd name="connsiteY33" fmla="*/ 52388 h 482600"/>
                  <a:gd name="connsiteX34" fmla="*/ 106363 w 514350"/>
                  <a:gd name="connsiteY34" fmla="*/ 47308 h 482600"/>
                  <a:gd name="connsiteX35" fmla="*/ 96202 w 514350"/>
                  <a:gd name="connsiteY35" fmla="*/ 42227 h 482600"/>
                  <a:gd name="connsiteX36" fmla="*/ 92392 w 514350"/>
                  <a:gd name="connsiteY36" fmla="*/ 40958 h 482600"/>
                  <a:gd name="connsiteX37" fmla="*/ 86042 w 514350"/>
                  <a:gd name="connsiteY37" fmla="*/ 38417 h 482600"/>
                  <a:gd name="connsiteX38" fmla="*/ 82232 w 514350"/>
                  <a:gd name="connsiteY38" fmla="*/ 37148 h 482600"/>
                  <a:gd name="connsiteX39" fmla="*/ 76517 w 514350"/>
                  <a:gd name="connsiteY39" fmla="*/ 35242 h 482600"/>
                  <a:gd name="connsiteX40" fmla="*/ 72707 w 514350"/>
                  <a:gd name="connsiteY40" fmla="*/ 34608 h 482600"/>
                  <a:gd name="connsiteX41" fmla="*/ 66992 w 514350"/>
                  <a:gd name="connsiteY41" fmla="*/ 33973 h 482600"/>
                  <a:gd name="connsiteX42" fmla="*/ 63182 w 514350"/>
                  <a:gd name="connsiteY42" fmla="*/ 33973 h 482600"/>
                  <a:gd name="connsiteX43" fmla="*/ 58102 w 514350"/>
                  <a:gd name="connsiteY43" fmla="*/ 33973 h 482600"/>
                  <a:gd name="connsiteX44" fmla="*/ 54292 w 514350"/>
                  <a:gd name="connsiteY44" fmla="*/ 34608 h 482600"/>
                  <a:gd name="connsiteX45" fmla="*/ 49847 w 514350"/>
                  <a:gd name="connsiteY45" fmla="*/ 35242 h 482600"/>
                  <a:gd name="connsiteX46" fmla="*/ 46038 w 514350"/>
                  <a:gd name="connsiteY46" fmla="*/ 36513 h 482600"/>
                  <a:gd name="connsiteX47" fmla="*/ 41592 w 514350"/>
                  <a:gd name="connsiteY47" fmla="*/ 37783 h 482600"/>
                  <a:gd name="connsiteX48" fmla="*/ 38417 w 514350"/>
                  <a:gd name="connsiteY48" fmla="*/ 39052 h 482600"/>
                  <a:gd name="connsiteX49" fmla="*/ 34607 w 514350"/>
                  <a:gd name="connsiteY49" fmla="*/ 40958 h 482600"/>
                  <a:gd name="connsiteX50" fmla="*/ 4763 w 514350"/>
                  <a:gd name="connsiteY50" fmla="*/ 105727 h 482600"/>
                  <a:gd name="connsiteX51" fmla="*/ 105727 w 514350"/>
                  <a:gd name="connsiteY51" fmla="*/ 280352 h 482600"/>
                  <a:gd name="connsiteX52" fmla="*/ 434657 w 514350"/>
                  <a:gd name="connsiteY52" fmla="*/ 470217 h 482600"/>
                  <a:gd name="connsiteX53" fmla="*/ 494347 w 514350"/>
                  <a:gd name="connsiteY53" fmla="*/ 474027 h 482600"/>
                  <a:gd name="connsiteX54" fmla="*/ 496888 w 514350"/>
                  <a:gd name="connsiteY54" fmla="*/ 472123 h 482600"/>
                  <a:gd name="connsiteX55" fmla="*/ 498792 w 514350"/>
                  <a:gd name="connsiteY55" fmla="*/ 468948 h 482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514350" h="482600">
                    <a:moveTo>
                      <a:pt x="498792" y="468948"/>
                    </a:moveTo>
                    <a:cubicBezTo>
                      <a:pt x="499427" y="468313"/>
                      <a:pt x="500063" y="467677"/>
                      <a:pt x="500697" y="467042"/>
                    </a:cubicBezTo>
                    <a:cubicBezTo>
                      <a:pt x="501332" y="466408"/>
                      <a:pt x="501967" y="465138"/>
                      <a:pt x="503238" y="463867"/>
                    </a:cubicBezTo>
                    <a:cubicBezTo>
                      <a:pt x="503872" y="463233"/>
                      <a:pt x="504507" y="462598"/>
                      <a:pt x="505142" y="461327"/>
                    </a:cubicBezTo>
                    <a:cubicBezTo>
                      <a:pt x="505777" y="460058"/>
                      <a:pt x="506413" y="458788"/>
                      <a:pt x="507047" y="458152"/>
                    </a:cubicBezTo>
                    <a:cubicBezTo>
                      <a:pt x="507682" y="457517"/>
                      <a:pt x="508317" y="456248"/>
                      <a:pt x="508317" y="455613"/>
                    </a:cubicBezTo>
                    <a:cubicBezTo>
                      <a:pt x="508952" y="454342"/>
                      <a:pt x="509588" y="453073"/>
                      <a:pt x="509588" y="451802"/>
                    </a:cubicBezTo>
                    <a:cubicBezTo>
                      <a:pt x="510222" y="450533"/>
                      <a:pt x="510222" y="449898"/>
                      <a:pt x="510857" y="448627"/>
                    </a:cubicBezTo>
                    <a:cubicBezTo>
                      <a:pt x="511492" y="447358"/>
                      <a:pt x="511492" y="445452"/>
                      <a:pt x="512127" y="444183"/>
                    </a:cubicBezTo>
                    <a:cubicBezTo>
                      <a:pt x="512127" y="442913"/>
                      <a:pt x="512763" y="442277"/>
                      <a:pt x="512763" y="441008"/>
                    </a:cubicBezTo>
                    <a:cubicBezTo>
                      <a:pt x="513397" y="439102"/>
                      <a:pt x="513397" y="437198"/>
                      <a:pt x="513397" y="435292"/>
                    </a:cubicBezTo>
                    <a:cubicBezTo>
                      <a:pt x="513397" y="434658"/>
                      <a:pt x="513397" y="433388"/>
                      <a:pt x="514032" y="432752"/>
                    </a:cubicBezTo>
                    <a:cubicBezTo>
                      <a:pt x="514032" y="429577"/>
                      <a:pt x="514667" y="427038"/>
                      <a:pt x="514667" y="423863"/>
                    </a:cubicBezTo>
                    <a:cubicBezTo>
                      <a:pt x="514667" y="385127"/>
                      <a:pt x="493713" y="339408"/>
                      <a:pt x="463867" y="308927"/>
                    </a:cubicBezTo>
                    <a:cubicBezTo>
                      <a:pt x="454342" y="250508"/>
                      <a:pt x="413702" y="187642"/>
                      <a:pt x="365442" y="159702"/>
                    </a:cubicBezTo>
                    <a:cubicBezTo>
                      <a:pt x="360363" y="156527"/>
                      <a:pt x="355282" y="154623"/>
                      <a:pt x="350838" y="152717"/>
                    </a:cubicBezTo>
                    <a:cubicBezTo>
                      <a:pt x="326707" y="98742"/>
                      <a:pt x="286702" y="49213"/>
                      <a:pt x="240982" y="22542"/>
                    </a:cubicBezTo>
                    <a:cubicBezTo>
                      <a:pt x="236538" y="20002"/>
                      <a:pt x="232727" y="18098"/>
                      <a:pt x="228282" y="16192"/>
                    </a:cubicBezTo>
                    <a:cubicBezTo>
                      <a:pt x="227013" y="15558"/>
                      <a:pt x="225742" y="14923"/>
                      <a:pt x="224472" y="14288"/>
                    </a:cubicBezTo>
                    <a:cubicBezTo>
                      <a:pt x="221297" y="13017"/>
                      <a:pt x="218757" y="11748"/>
                      <a:pt x="215582" y="11113"/>
                    </a:cubicBezTo>
                    <a:cubicBezTo>
                      <a:pt x="214313" y="10477"/>
                      <a:pt x="213042" y="9842"/>
                      <a:pt x="211772" y="9842"/>
                    </a:cubicBezTo>
                    <a:cubicBezTo>
                      <a:pt x="208597" y="8573"/>
                      <a:pt x="206057" y="7938"/>
                      <a:pt x="202882" y="7302"/>
                    </a:cubicBezTo>
                    <a:cubicBezTo>
                      <a:pt x="201613" y="7302"/>
                      <a:pt x="200977" y="6667"/>
                      <a:pt x="199707" y="6667"/>
                    </a:cubicBezTo>
                    <a:cubicBezTo>
                      <a:pt x="195897" y="6033"/>
                      <a:pt x="192088" y="5398"/>
                      <a:pt x="188277" y="4763"/>
                    </a:cubicBezTo>
                    <a:cubicBezTo>
                      <a:pt x="187642" y="4763"/>
                      <a:pt x="187007" y="4763"/>
                      <a:pt x="185738" y="4763"/>
                    </a:cubicBezTo>
                    <a:cubicBezTo>
                      <a:pt x="182563" y="4763"/>
                      <a:pt x="180022" y="4763"/>
                      <a:pt x="177482" y="4763"/>
                    </a:cubicBezTo>
                    <a:cubicBezTo>
                      <a:pt x="176213" y="4763"/>
                      <a:pt x="174942" y="4763"/>
                      <a:pt x="174307" y="4763"/>
                    </a:cubicBezTo>
                    <a:cubicBezTo>
                      <a:pt x="171767" y="4763"/>
                      <a:pt x="169227" y="5398"/>
                      <a:pt x="167322" y="5398"/>
                    </a:cubicBezTo>
                    <a:cubicBezTo>
                      <a:pt x="166052" y="5398"/>
                      <a:pt x="165417" y="6033"/>
                      <a:pt x="164147" y="6033"/>
                    </a:cubicBezTo>
                    <a:cubicBezTo>
                      <a:pt x="161607" y="6667"/>
                      <a:pt x="158432" y="7302"/>
                      <a:pt x="155892" y="8573"/>
                    </a:cubicBezTo>
                    <a:cubicBezTo>
                      <a:pt x="155257" y="8573"/>
                      <a:pt x="155257" y="8573"/>
                      <a:pt x="154622" y="9208"/>
                    </a:cubicBezTo>
                    <a:cubicBezTo>
                      <a:pt x="151447" y="10477"/>
                      <a:pt x="148907" y="11748"/>
                      <a:pt x="145732" y="13017"/>
                    </a:cubicBezTo>
                    <a:cubicBezTo>
                      <a:pt x="139382" y="16827"/>
                      <a:pt x="133667" y="21273"/>
                      <a:pt x="128588" y="26988"/>
                    </a:cubicBezTo>
                    <a:cubicBezTo>
                      <a:pt x="122238" y="33973"/>
                      <a:pt x="117157" y="42227"/>
                      <a:pt x="113982" y="52388"/>
                    </a:cubicBezTo>
                    <a:cubicBezTo>
                      <a:pt x="111442" y="50483"/>
                      <a:pt x="108902" y="49213"/>
                      <a:pt x="106363" y="47308"/>
                    </a:cubicBezTo>
                    <a:cubicBezTo>
                      <a:pt x="102552" y="45402"/>
                      <a:pt x="99377" y="43498"/>
                      <a:pt x="96202" y="42227"/>
                    </a:cubicBezTo>
                    <a:cubicBezTo>
                      <a:pt x="94932" y="41592"/>
                      <a:pt x="93663" y="41592"/>
                      <a:pt x="92392" y="40958"/>
                    </a:cubicBezTo>
                    <a:cubicBezTo>
                      <a:pt x="90488" y="40323"/>
                      <a:pt x="87947" y="39052"/>
                      <a:pt x="86042" y="38417"/>
                    </a:cubicBezTo>
                    <a:cubicBezTo>
                      <a:pt x="84772" y="37783"/>
                      <a:pt x="83502" y="37783"/>
                      <a:pt x="82232" y="37148"/>
                    </a:cubicBezTo>
                    <a:cubicBezTo>
                      <a:pt x="80327" y="36513"/>
                      <a:pt x="78422" y="35877"/>
                      <a:pt x="76517" y="35242"/>
                    </a:cubicBezTo>
                    <a:cubicBezTo>
                      <a:pt x="75247" y="35242"/>
                      <a:pt x="73977" y="34608"/>
                      <a:pt x="72707" y="34608"/>
                    </a:cubicBezTo>
                    <a:cubicBezTo>
                      <a:pt x="70802" y="34608"/>
                      <a:pt x="68897" y="33973"/>
                      <a:pt x="66992" y="33973"/>
                    </a:cubicBezTo>
                    <a:cubicBezTo>
                      <a:pt x="65722" y="33973"/>
                      <a:pt x="64452" y="33973"/>
                      <a:pt x="63182" y="33973"/>
                    </a:cubicBezTo>
                    <a:cubicBezTo>
                      <a:pt x="61277" y="33973"/>
                      <a:pt x="60007" y="33973"/>
                      <a:pt x="58102" y="33973"/>
                    </a:cubicBezTo>
                    <a:cubicBezTo>
                      <a:pt x="56832" y="33973"/>
                      <a:pt x="55563" y="33973"/>
                      <a:pt x="54292" y="34608"/>
                    </a:cubicBezTo>
                    <a:cubicBezTo>
                      <a:pt x="53022" y="34608"/>
                      <a:pt x="51117" y="34608"/>
                      <a:pt x="49847" y="35242"/>
                    </a:cubicBezTo>
                    <a:cubicBezTo>
                      <a:pt x="48577" y="35242"/>
                      <a:pt x="47307" y="35877"/>
                      <a:pt x="46038" y="36513"/>
                    </a:cubicBezTo>
                    <a:cubicBezTo>
                      <a:pt x="44767" y="37148"/>
                      <a:pt x="43497" y="37148"/>
                      <a:pt x="41592" y="37783"/>
                    </a:cubicBezTo>
                    <a:cubicBezTo>
                      <a:pt x="40322" y="38417"/>
                      <a:pt x="39052" y="39052"/>
                      <a:pt x="38417" y="39052"/>
                    </a:cubicBezTo>
                    <a:cubicBezTo>
                      <a:pt x="37147" y="39688"/>
                      <a:pt x="35877" y="40323"/>
                      <a:pt x="34607" y="40958"/>
                    </a:cubicBezTo>
                    <a:cubicBezTo>
                      <a:pt x="16192" y="51752"/>
                      <a:pt x="4763" y="73977"/>
                      <a:pt x="4763" y="105727"/>
                    </a:cubicBezTo>
                    <a:cubicBezTo>
                      <a:pt x="4763" y="169863"/>
                      <a:pt x="49847" y="247967"/>
                      <a:pt x="105727" y="280352"/>
                    </a:cubicBezTo>
                    <a:lnTo>
                      <a:pt x="434657" y="470217"/>
                    </a:lnTo>
                    <a:cubicBezTo>
                      <a:pt x="458152" y="484188"/>
                      <a:pt x="479742" y="484188"/>
                      <a:pt x="494347" y="474027"/>
                    </a:cubicBezTo>
                    <a:cubicBezTo>
                      <a:pt x="494982" y="473392"/>
                      <a:pt x="496252" y="472758"/>
                      <a:pt x="496888" y="472123"/>
                    </a:cubicBezTo>
                    <a:cubicBezTo>
                      <a:pt x="496888" y="470852"/>
                      <a:pt x="497522" y="469583"/>
                      <a:pt x="498792" y="46894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0" name="任意多边形: 形状 329"/>
              <p:cNvSpPr/>
              <p:nvPr/>
            </p:nvSpPr>
            <p:spPr>
              <a:xfrm flipH="1">
                <a:off x="3203237" y="4312285"/>
                <a:ext cx="1714500" cy="1174750"/>
              </a:xfrm>
              <a:custGeom>
                <a:avLst/>
                <a:gdLst>
                  <a:gd name="connsiteX0" fmla="*/ 3175 w 1714500"/>
                  <a:gd name="connsiteY0" fmla="*/ 3175 h 1174750"/>
                  <a:gd name="connsiteX1" fmla="*/ 3175 w 1714500"/>
                  <a:gd name="connsiteY1" fmla="*/ 121920 h 1174750"/>
                  <a:gd name="connsiteX2" fmla="*/ 1715770 w 1714500"/>
                  <a:gd name="connsiteY2" fmla="*/ 1173480 h 1174750"/>
                  <a:gd name="connsiteX3" fmla="*/ 1715770 w 1714500"/>
                  <a:gd name="connsiteY3" fmla="*/ 1071880 h 1174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500" h="1174750">
                    <a:moveTo>
                      <a:pt x="3175" y="3175"/>
                    </a:moveTo>
                    <a:lnTo>
                      <a:pt x="3175" y="121920"/>
                    </a:lnTo>
                    <a:lnTo>
                      <a:pt x="1715770" y="1173480"/>
                    </a:lnTo>
                    <a:lnTo>
                      <a:pt x="1715770" y="107188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1" name="任意多边形: 形状 330"/>
              <p:cNvSpPr/>
              <p:nvPr/>
            </p:nvSpPr>
            <p:spPr>
              <a:xfrm flipH="1">
                <a:off x="2036742" y="4664710"/>
                <a:ext cx="1168400" cy="819150"/>
              </a:xfrm>
              <a:custGeom>
                <a:avLst/>
                <a:gdLst>
                  <a:gd name="connsiteX0" fmla="*/ 3175 w 1168400"/>
                  <a:gd name="connsiteY0" fmla="*/ 821055 h 819150"/>
                  <a:gd name="connsiteX1" fmla="*/ 1162686 w 1168400"/>
                  <a:gd name="connsiteY1" fmla="*/ 104775 h 819150"/>
                  <a:gd name="connsiteX2" fmla="*/ 1169036 w 1168400"/>
                  <a:gd name="connsiteY2" fmla="*/ 3175 h 819150"/>
                  <a:gd name="connsiteX3" fmla="*/ 3175 w 1168400"/>
                  <a:gd name="connsiteY3" fmla="*/ 719455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68400" h="819150">
                    <a:moveTo>
                      <a:pt x="3175" y="821055"/>
                    </a:moveTo>
                    <a:lnTo>
                      <a:pt x="1162686" y="104775"/>
                    </a:lnTo>
                    <a:lnTo>
                      <a:pt x="1169036" y="3175"/>
                    </a:lnTo>
                    <a:lnTo>
                      <a:pt x="3175" y="719455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51" name="任意多边形: 形状 350"/>
            <p:cNvSpPr/>
            <p:nvPr/>
          </p:nvSpPr>
          <p:spPr>
            <a:xfrm flipH="1">
              <a:off x="5335396" y="4542949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3 w 323850"/>
                <a:gd name="connsiteY1" fmla="*/ 161766 h 190500"/>
                <a:gd name="connsiteX2" fmla="*/ 50323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8" y="197961"/>
                    <a:pt x="113188" y="197961"/>
                    <a:pt x="50323" y="161766"/>
                  </a:cubicBezTo>
                  <a:cubicBezTo>
                    <a:pt x="-12541" y="125571"/>
                    <a:pt x="-12541" y="66516"/>
                    <a:pt x="50323" y="30321"/>
                  </a:cubicBezTo>
                  <a:cubicBezTo>
                    <a:pt x="113188" y="-5874"/>
                    <a:pt x="214788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2" name="任意多边形: 形状 351"/>
            <p:cNvSpPr/>
            <p:nvPr/>
          </p:nvSpPr>
          <p:spPr>
            <a:xfrm flipH="1">
              <a:off x="5391752" y="3992245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353" name="任意多边形: 形状 352"/>
            <p:cNvSpPr/>
            <p:nvPr/>
          </p:nvSpPr>
          <p:spPr>
            <a:xfrm flipH="1">
              <a:off x="5387942" y="4029710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5" name="任意多边形: 形状 354"/>
            <p:cNvSpPr/>
            <p:nvPr/>
          </p:nvSpPr>
          <p:spPr>
            <a:xfrm flipH="1">
              <a:off x="4933732" y="4865906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9" y="197961"/>
                    <a:pt x="113189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9" y="-5874"/>
                    <a:pt x="214789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6" name="任意多边形: 形状 355"/>
            <p:cNvSpPr/>
            <p:nvPr/>
          </p:nvSpPr>
          <p:spPr>
            <a:xfrm flipH="1">
              <a:off x="4990088" y="4315837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175"/>
                    <a:pt x="213360" y="620395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357" name="任意多边形: 形状 356"/>
            <p:cNvSpPr/>
            <p:nvPr/>
          </p:nvSpPr>
          <p:spPr>
            <a:xfrm flipH="1">
              <a:off x="4986278" y="4353302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0710"/>
                    <a:pt x="209550" y="582930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9" name="任意多边形: 形状 358"/>
            <p:cNvSpPr/>
            <p:nvPr/>
          </p:nvSpPr>
          <p:spPr>
            <a:xfrm flipH="1">
              <a:off x="4528717" y="5148818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3 w 323850"/>
                <a:gd name="connsiteY1" fmla="*/ 161766 h 190500"/>
                <a:gd name="connsiteX2" fmla="*/ 50323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8" y="197961"/>
                    <a:pt x="113188" y="197961"/>
                    <a:pt x="50323" y="161766"/>
                  </a:cubicBezTo>
                  <a:cubicBezTo>
                    <a:pt x="-12541" y="125571"/>
                    <a:pt x="-12541" y="66516"/>
                    <a:pt x="50323" y="30321"/>
                  </a:cubicBezTo>
                  <a:cubicBezTo>
                    <a:pt x="113188" y="-5874"/>
                    <a:pt x="214788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0" name="任意多边形: 形状 359"/>
            <p:cNvSpPr/>
            <p:nvPr/>
          </p:nvSpPr>
          <p:spPr>
            <a:xfrm flipH="1">
              <a:off x="4585073" y="4598114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361" name="任意多边形: 形状 360"/>
            <p:cNvSpPr/>
            <p:nvPr/>
          </p:nvSpPr>
          <p:spPr>
            <a:xfrm flipH="1">
              <a:off x="4581263" y="4635579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3" name="任意多边形: 形状 362"/>
            <p:cNvSpPr/>
            <p:nvPr/>
          </p:nvSpPr>
          <p:spPr>
            <a:xfrm flipH="1">
              <a:off x="4047449" y="5481320"/>
              <a:ext cx="323850" cy="190500"/>
            </a:xfrm>
            <a:custGeom>
              <a:avLst/>
              <a:gdLst>
                <a:gd name="connsiteX0" fmla="*/ 277653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3 w 323850"/>
                <a:gd name="connsiteY3" fmla="*/ 30321 h 190500"/>
                <a:gd name="connsiteX4" fmla="*/ 277653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3" y="161766"/>
                  </a:moveTo>
                  <a:cubicBezTo>
                    <a:pt x="214788" y="197961"/>
                    <a:pt x="113188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8" y="-5874"/>
                    <a:pt x="214788" y="-5874"/>
                    <a:pt x="277653" y="30321"/>
                  </a:cubicBezTo>
                  <a:cubicBezTo>
                    <a:pt x="340519" y="66516"/>
                    <a:pt x="340519" y="125571"/>
                    <a:pt x="277653" y="16176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4" name="任意多边形: 形状 363"/>
            <p:cNvSpPr/>
            <p:nvPr/>
          </p:nvSpPr>
          <p:spPr>
            <a:xfrm flipH="1">
              <a:off x="4103805" y="4931251"/>
              <a:ext cx="209550" cy="666750"/>
            </a:xfrm>
            <a:custGeom>
              <a:avLst/>
              <a:gdLst>
                <a:gd name="connsiteX0" fmla="*/ 210819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19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19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4" y="675640"/>
                    <a:pt x="140335" y="675640"/>
                    <a:pt x="180975" y="652145"/>
                  </a:cubicBezTo>
                  <a:cubicBezTo>
                    <a:pt x="203835" y="638175"/>
                    <a:pt x="213360" y="620395"/>
                    <a:pt x="210819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5" name="任意多边形: 形状 364"/>
            <p:cNvSpPr/>
            <p:nvPr/>
          </p:nvSpPr>
          <p:spPr>
            <a:xfrm flipH="1">
              <a:off x="4099995" y="4968716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0710"/>
                    <a:pt x="209550" y="582930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7" name="任意多边形: 形状 366"/>
            <p:cNvSpPr/>
            <p:nvPr/>
          </p:nvSpPr>
          <p:spPr>
            <a:xfrm flipH="1">
              <a:off x="3551242" y="5764503"/>
              <a:ext cx="323850" cy="190500"/>
            </a:xfrm>
            <a:custGeom>
              <a:avLst/>
              <a:gdLst>
                <a:gd name="connsiteX0" fmla="*/ 277653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3 w 323850"/>
                <a:gd name="connsiteY3" fmla="*/ 30321 h 190500"/>
                <a:gd name="connsiteX4" fmla="*/ 277653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3" y="161766"/>
                  </a:moveTo>
                  <a:cubicBezTo>
                    <a:pt x="214788" y="197961"/>
                    <a:pt x="113188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8" y="-5874"/>
                    <a:pt x="214788" y="-5874"/>
                    <a:pt x="277653" y="30321"/>
                  </a:cubicBezTo>
                  <a:cubicBezTo>
                    <a:pt x="340519" y="66516"/>
                    <a:pt x="340519" y="125571"/>
                    <a:pt x="277653" y="16176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8" name="任意多边形: 形状 367"/>
            <p:cNvSpPr/>
            <p:nvPr/>
          </p:nvSpPr>
          <p:spPr>
            <a:xfrm flipH="1">
              <a:off x="3607598" y="5213799"/>
              <a:ext cx="209550" cy="666750"/>
            </a:xfrm>
            <a:custGeom>
              <a:avLst/>
              <a:gdLst>
                <a:gd name="connsiteX0" fmla="*/ 210819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19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19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4" y="675640"/>
                    <a:pt x="140335" y="675640"/>
                    <a:pt x="180975" y="652145"/>
                  </a:cubicBezTo>
                  <a:cubicBezTo>
                    <a:pt x="203835" y="638810"/>
                    <a:pt x="213994" y="621030"/>
                    <a:pt x="210819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9" name="任意多边形: 形状 368"/>
            <p:cNvSpPr/>
            <p:nvPr/>
          </p:nvSpPr>
          <p:spPr>
            <a:xfrm flipH="1">
              <a:off x="3603788" y="5251264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1" name="任意多边形: 形状 370"/>
            <p:cNvSpPr/>
            <p:nvPr/>
          </p:nvSpPr>
          <p:spPr>
            <a:xfrm flipH="1">
              <a:off x="2764650" y="5752279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9" y="197961"/>
                    <a:pt x="113189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9" y="-5874"/>
                    <a:pt x="214789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2" name="任意多边形: 形状 371"/>
            <p:cNvSpPr/>
            <p:nvPr/>
          </p:nvSpPr>
          <p:spPr>
            <a:xfrm flipH="1">
              <a:off x="2821800" y="5213799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3" name="任意多边形: 形状 372"/>
            <p:cNvSpPr/>
            <p:nvPr/>
          </p:nvSpPr>
          <p:spPr>
            <a:xfrm flipH="1">
              <a:off x="2817990" y="5251264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任意多边形: 形状 4"/>
          <p:cNvSpPr/>
          <p:nvPr userDrawn="1"/>
        </p:nvSpPr>
        <p:spPr>
          <a:xfrm>
            <a:off x="-3176" y="-3175"/>
            <a:ext cx="12195176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7" name="任意多边形: 形状 6"/>
          <p:cNvSpPr/>
          <p:nvPr userDrawn="1"/>
        </p:nvSpPr>
        <p:spPr>
          <a:xfrm>
            <a:off x="489474" y="689956"/>
            <a:ext cx="11213052" cy="5447319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bg1"/>
          </a:solidFill>
          <a:ln w="6350" cap="flat">
            <a:noFill/>
            <a:prstDash val="solid"/>
            <a:miter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460825" y="1757119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460825" y="4063355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3460826" y="3767084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2" name="组合 1"/>
          <p:cNvGrpSpPr/>
          <p:nvPr userDrawn="1"/>
        </p:nvGrpSpPr>
        <p:grpSpPr>
          <a:xfrm>
            <a:off x="2044214" y="1095359"/>
            <a:ext cx="641350" cy="586627"/>
            <a:chOff x="3161814" y="386194"/>
            <a:chExt cx="641350" cy="586627"/>
          </a:xfrm>
        </p:grpSpPr>
        <p:sp>
          <p:nvSpPr>
            <p:cNvPr id="141" name="任意多边形: 形状 140"/>
            <p:cNvSpPr/>
            <p:nvPr/>
          </p:nvSpPr>
          <p:spPr>
            <a:xfrm flipH="1">
              <a:off x="3161814" y="386194"/>
              <a:ext cx="476250" cy="577850"/>
            </a:xfrm>
            <a:custGeom>
              <a:avLst/>
              <a:gdLst>
                <a:gd name="connsiteX0" fmla="*/ 413068 w 476250"/>
                <a:gd name="connsiteY0" fmla="*/ 361519 h 577850"/>
                <a:gd name="connsiteX1" fmla="*/ 297498 w 476250"/>
                <a:gd name="connsiteY1" fmla="*/ 186894 h 577850"/>
                <a:gd name="connsiteX2" fmla="*/ 279718 w 476250"/>
                <a:gd name="connsiteY2" fmla="*/ 178639 h 577850"/>
                <a:gd name="connsiteX3" fmla="*/ 150813 w 476250"/>
                <a:gd name="connsiteY3" fmla="*/ 26239 h 577850"/>
                <a:gd name="connsiteX4" fmla="*/ 39053 w 476250"/>
                <a:gd name="connsiteY4" fmla="*/ 15444 h 577850"/>
                <a:gd name="connsiteX5" fmla="*/ 4763 w 476250"/>
                <a:gd name="connsiteY5" fmla="*/ 35129 h 577850"/>
                <a:gd name="connsiteX6" fmla="*/ 5398 w 476250"/>
                <a:gd name="connsiteY6" fmla="*/ 34494 h 577850"/>
                <a:gd name="connsiteX7" fmla="*/ 15558 w 476250"/>
                <a:gd name="connsiteY7" fmla="*/ 29414 h 577850"/>
                <a:gd name="connsiteX8" fmla="*/ 17463 w 476250"/>
                <a:gd name="connsiteY8" fmla="*/ 28779 h 577850"/>
                <a:gd name="connsiteX9" fmla="*/ 26988 w 476250"/>
                <a:gd name="connsiteY9" fmla="*/ 26239 h 577850"/>
                <a:gd name="connsiteX10" fmla="*/ 30798 w 476250"/>
                <a:gd name="connsiteY10" fmla="*/ 25604 h 577850"/>
                <a:gd name="connsiteX11" fmla="*/ 39053 w 476250"/>
                <a:gd name="connsiteY11" fmla="*/ 24334 h 577850"/>
                <a:gd name="connsiteX12" fmla="*/ 42863 w 476250"/>
                <a:gd name="connsiteY12" fmla="*/ 24334 h 577850"/>
                <a:gd name="connsiteX13" fmla="*/ 53023 w 476250"/>
                <a:gd name="connsiteY13" fmla="*/ 24334 h 577850"/>
                <a:gd name="connsiteX14" fmla="*/ 55563 w 476250"/>
                <a:gd name="connsiteY14" fmla="*/ 24334 h 577850"/>
                <a:gd name="connsiteX15" fmla="*/ 68898 w 476250"/>
                <a:gd name="connsiteY15" fmla="*/ 26239 h 577850"/>
                <a:gd name="connsiteX16" fmla="*/ 72708 w 476250"/>
                <a:gd name="connsiteY16" fmla="*/ 26874 h 577850"/>
                <a:gd name="connsiteX17" fmla="*/ 82868 w 476250"/>
                <a:gd name="connsiteY17" fmla="*/ 30049 h 577850"/>
                <a:gd name="connsiteX18" fmla="*/ 87313 w 476250"/>
                <a:gd name="connsiteY18" fmla="*/ 31954 h 577850"/>
                <a:gd name="connsiteX19" fmla="*/ 97473 w 476250"/>
                <a:gd name="connsiteY19" fmla="*/ 35764 h 577850"/>
                <a:gd name="connsiteX20" fmla="*/ 101918 w 476250"/>
                <a:gd name="connsiteY20" fmla="*/ 37669 h 577850"/>
                <a:gd name="connsiteX21" fmla="*/ 116523 w 476250"/>
                <a:gd name="connsiteY21" fmla="*/ 45289 h 577850"/>
                <a:gd name="connsiteX22" fmla="*/ 245428 w 476250"/>
                <a:gd name="connsiteY22" fmla="*/ 197689 h 577850"/>
                <a:gd name="connsiteX23" fmla="*/ 263208 w 476250"/>
                <a:gd name="connsiteY23" fmla="*/ 205944 h 577850"/>
                <a:gd name="connsiteX24" fmla="*/ 378778 w 476250"/>
                <a:gd name="connsiteY24" fmla="*/ 380569 h 577850"/>
                <a:gd name="connsiteX25" fmla="*/ 438468 w 476250"/>
                <a:gd name="connsiteY25" fmla="*/ 515824 h 577850"/>
                <a:gd name="connsiteX26" fmla="*/ 437833 w 476250"/>
                <a:gd name="connsiteY26" fmla="*/ 526619 h 577850"/>
                <a:gd name="connsiteX27" fmla="*/ 437198 w 476250"/>
                <a:gd name="connsiteY27" fmla="*/ 529794 h 577850"/>
                <a:gd name="connsiteX28" fmla="*/ 435928 w 476250"/>
                <a:gd name="connsiteY28" fmla="*/ 536779 h 577850"/>
                <a:gd name="connsiteX29" fmla="*/ 435293 w 476250"/>
                <a:gd name="connsiteY29" fmla="*/ 539954 h 577850"/>
                <a:gd name="connsiteX30" fmla="*/ 434023 w 476250"/>
                <a:gd name="connsiteY30" fmla="*/ 545669 h 577850"/>
                <a:gd name="connsiteX31" fmla="*/ 432753 w 476250"/>
                <a:gd name="connsiteY31" fmla="*/ 548844 h 577850"/>
                <a:gd name="connsiteX32" fmla="*/ 430848 w 476250"/>
                <a:gd name="connsiteY32" fmla="*/ 553289 h 577850"/>
                <a:gd name="connsiteX33" fmla="*/ 428943 w 476250"/>
                <a:gd name="connsiteY33" fmla="*/ 556464 h 577850"/>
                <a:gd name="connsiteX34" fmla="*/ 426403 w 476250"/>
                <a:gd name="connsiteY34" fmla="*/ 560274 h 577850"/>
                <a:gd name="connsiteX35" fmla="*/ 424498 w 476250"/>
                <a:gd name="connsiteY35" fmla="*/ 562814 h 577850"/>
                <a:gd name="connsiteX36" fmla="*/ 421958 w 476250"/>
                <a:gd name="connsiteY36" fmla="*/ 565989 h 577850"/>
                <a:gd name="connsiteX37" fmla="*/ 419418 w 476250"/>
                <a:gd name="connsiteY37" fmla="*/ 568529 h 577850"/>
                <a:gd name="connsiteX38" fmla="*/ 416243 w 476250"/>
                <a:gd name="connsiteY38" fmla="*/ 571069 h 577850"/>
                <a:gd name="connsiteX39" fmla="*/ 413703 w 476250"/>
                <a:gd name="connsiteY39" fmla="*/ 572974 h 577850"/>
                <a:gd name="connsiteX40" fmla="*/ 410528 w 476250"/>
                <a:gd name="connsiteY40" fmla="*/ 574879 h 577850"/>
                <a:gd name="connsiteX41" fmla="*/ 444818 w 476250"/>
                <a:gd name="connsiteY41" fmla="*/ 555194 h 577850"/>
                <a:gd name="connsiteX42" fmla="*/ 472123 w 476250"/>
                <a:gd name="connsiteY42" fmla="*/ 494869 h 577850"/>
                <a:gd name="connsiteX43" fmla="*/ 413068 w 476250"/>
                <a:gd name="connsiteY43" fmla="*/ 361519 h 57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76250" h="577850">
                  <a:moveTo>
                    <a:pt x="413068" y="361519"/>
                  </a:moveTo>
                  <a:cubicBezTo>
                    <a:pt x="401638" y="293574"/>
                    <a:pt x="354013" y="219279"/>
                    <a:pt x="297498" y="186894"/>
                  </a:cubicBezTo>
                  <a:cubicBezTo>
                    <a:pt x="291783" y="183719"/>
                    <a:pt x="285433" y="180544"/>
                    <a:pt x="279718" y="178639"/>
                  </a:cubicBezTo>
                  <a:cubicBezTo>
                    <a:pt x="251778" y="115139"/>
                    <a:pt x="204153" y="57354"/>
                    <a:pt x="150813" y="26239"/>
                  </a:cubicBezTo>
                  <a:cubicBezTo>
                    <a:pt x="106998" y="839"/>
                    <a:pt x="67628" y="-1066"/>
                    <a:pt x="39053" y="15444"/>
                  </a:cubicBezTo>
                  <a:lnTo>
                    <a:pt x="4763" y="35129"/>
                  </a:lnTo>
                  <a:cubicBezTo>
                    <a:pt x="4763" y="35129"/>
                    <a:pt x="5398" y="35129"/>
                    <a:pt x="5398" y="34494"/>
                  </a:cubicBezTo>
                  <a:cubicBezTo>
                    <a:pt x="8573" y="32589"/>
                    <a:pt x="11748" y="31319"/>
                    <a:pt x="15558" y="29414"/>
                  </a:cubicBezTo>
                  <a:cubicBezTo>
                    <a:pt x="16193" y="29414"/>
                    <a:pt x="16828" y="28779"/>
                    <a:pt x="17463" y="28779"/>
                  </a:cubicBezTo>
                  <a:cubicBezTo>
                    <a:pt x="20638" y="27509"/>
                    <a:pt x="23813" y="26874"/>
                    <a:pt x="26988" y="26239"/>
                  </a:cubicBezTo>
                  <a:cubicBezTo>
                    <a:pt x="28258" y="26239"/>
                    <a:pt x="29528" y="25604"/>
                    <a:pt x="30798" y="25604"/>
                  </a:cubicBezTo>
                  <a:cubicBezTo>
                    <a:pt x="33338" y="24969"/>
                    <a:pt x="36513" y="24969"/>
                    <a:pt x="39053" y="24334"/>
                  </a:cubicBezTo>
                  <a:cubicBezTo>
                    <a:pt x="40323" y="24334"/>
                    <a:pt x="41593" y="24334"/>
                    <a:pt x="42863" y="24334"/>
                  </a:cubicBezTo>
                  <a:cubicBezTo>
                    <a:pt x="46038" y="24334"/>
                    <a:pt x="49213" y="24334"/>
                    <a:pt x="53023" y="24334"/>
                  </a:cubicBezTo>
                  <a:cubicBezTo>
                    <a:pt x="53658" y="24334"/>
                    <a:pt x="54928" y="24334"/>
                    <a:pt x="55563" y="24334"/>
                  </a:cubicBezTo>
                  <a:cubicBezTo>
                    <a:pt x="60008" y="24969"/>
                    <a:pt x="64453" y="25604"/>
                    <a:pt x="68898" y="26239"/>
                  </a:cubicBezTo>
                  <a:cubicBezTo>
                    <a:pt x="70168" y="26239"/>
                    <a:pt x="71438" y="26874"/>
                    <a:pt x="72708" y="26874"/>
                  </a:cubicBezTo>
                  <a:cubicBezTo>
                    <a:pt x="75883" y="27509"/>
                    <a:pt x="79693" y="28779"/>
                    <a:pt x="82868" y="30049"/>
                  </a:cubicBezTo>
                  <a:cubicBezTo>
                    <a:pt x="84138" y="30684"/>
                    <a:pt x="86043" y="31319"/>
                    <a:pt x="87313" y="31954"/>
                  </a:cubicBezTo>
                  <a:cubicBezTo>
                    <a:pt x="90488" y="33224"/>
                    <a:pt x="94298" y="34494"/>
                    <a:pt x="97473" y="35764"/>
                  </a:cubicBezTo>
                  <a:cubicBezTo>
                    <a:pt x="98743" y="36399"/>
                    <a:pt x="100648" y="37034"/>
                    <a:pt x="101918" y="37669"/>
                  </a:cubicBezTo>
                  <a:cubicBezTo>
                    <a:pt x="106998" y="40209"/>
                    <a:pt x="111443" y="42749"/>
                    <a:pt x="116523" y="45289"/>
                  </a:cubicBezTo>
                  <a:cubicBezTo>
                    <a:pt x="169863" y="76404"/>
                    <a:pt x="217488" y="134189"/>
                    <a:pt x="245428" y="197689"/>
                  </a:cubicBezTo>
                  <a:cubicBezTo>
                    <a:pt x="251143" y="200229"/>
                    <a:pt x="256858" y="202769"/>
                    <a:pt x="263208" y="205944"/>
                  </a:cubicBezTo>
                  <a:cubicBezTo>
                    <a:pt x="320358" y="238964"/>
                    <a:pt x="367983" y="312624"/>
                    <a:pt x="378778" y="380569"/>
                  </a:cubicBezTo>
                  <a:cubicBezTo>
                    <a:pt x="413703" y="416764"/>
                    <a:pt x="438468" y="470104"/>
                    <a:pt x="438468" y="515824"/>
                  </a:cubicBezTo>
                  <a:cubicBezTo>
                    <a:pt x="438468" y="519634"/>
                    <a:pt x="438468" y="522809"/>
                    <a:pt x="437833" y="526619"/>
                  </a:cubicBezTo>
                  <a:cubicBezTo>
                    <a:pt x="437833" y="527889"/>
                    <a:pt x="437198" y="528524"/>
                    <a:pt x="437198" y="529794"/>
                  </a:cubicBezTo>
                  <a:cubicBezTo>
                    <a:pt x="437198" y="532334"/>
                    <a:pt x="436563" y="534239"/>
                    <a:pt x="435928" y="536779"/>
                  </a:cubicBezTo>
                  <a:cubicBezTo>
                    <a:pt x="435928" y="538049"/>
                    <a:pt x="435293" y="539319"/>
                    <a:pt x="435293" y="539954"/>
                  </a:cubicBezTo>
                  <a:cubicBezTo>
                    <a:pt x="434658" y="541859"/>
                    <a:pt x="434658" y="543764"/>
                    <a:pt x="434023" y="545669"/>
                  </a:cubicBezTo>
                  <a:cubicBezTo>
                    <a:pt x="433388" y="546939"/>
                    <a:pt x="433388" y="548209"/>
                    <a:pt x="432753" y="548844"/>
                  </a:cubicBezTo>
                  <a:cubicBezTo>
                    <a:pt x="432118" y="550114"/>
                    <a:pt x="431483" y="552019"/>
                    <a:pt x="430848" y="553289"/>
                  </a:cubicBezTo>
                  <a:cubicBezTo>
                    <a:pt x="430213" y="554559"/>
                    <a:pt x="429578" y="555194"/>
                    <a:pt x="428943" y="556464"/>
                  </a:cubicBezTo>
                  <a:cubicBezTo>
                    <a:pt x="428308" y="557734"/>
                    <a:pt x="427673" y="559004"/>
                    <a:pt x="426403" y="560274"/>
                  </a:cubicBezTo>
                  <a:cubicBezTo>
                    <a:pt x="425768" y="561544"/>
                    <a:pt x="425133" y="562179"/>
                    <a:pt x="424498" y="562814"/>
                  </a:cubicBezTo>
                  <a:cubicBezTo>
                    <a:pt x="423863" y="564084"/>
                    <a:pt x="422593" y="565354"/>
                    <a:pt x="421958" y="565989"/>
                  </a:cubicBezTo>
                  <a:cubicBezTo>
                    <a:pt x="421323" y="566624"/>
                    <a:pt x="420053" y="567259"/>
                    <a:pt x="419418" y="568529"/>
                  </a:cubicBezTo>
                  <a:cubicBezTo>
                    <a:pt x="418148" y="569799"/>
                    <a:pt x="417513" y="570434"/>
                    <a:pt x="416243" y="571069"/>
                  </a:cubicBezTo>
                  <a:cubicBezTo>
                    <a:pt x="415608" y="571704"/>
                    <a:pt x="414338" y="572339"/>
                    <a:pt x="413703" y="572974"/>
                  </a:cubicBezTo>
                  <a:cubicBezTo>
                    <a:pt x="412433" y="573609"/>
                    <a:pt x="411798" y="574244"/>
                    <a:pt x="410528" y="574879"/>
                  </a:cubicBezTo>
                  <a:lnTo>
                    <a:pt x="444818" y="555194"/>
                  </a:lnTo>
                  <a:cubicBezTo>
                    <a:pt x="461963" y="545669"/>
                    <a:pt x="472123" y="524714"/>
                    <a:pt x="472123" y="494869"/>
                  </a:cubicBezTo>
                  <a:cubicBezTo>
                    <a:pt x="472758" y="451054"/>
                    <a:pt x="447993" y="397714"/>
                    <a:pt x="413068" y="361519"/>
                  </a:cubicBezTo>
                  <a:close/>
                </a:path>
              </a:pathLst>
            </a:custGeom>
            <a:solidFill>
              <a:srgbClr val="B2B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/>
            <p:cNvSpPr/>
            <p:nvPr/>
          </p:nvSpPr>
          <p:spPr>
            <a:xfrm flipH="1">
              <a:off x="3199914" y="407671"/>
              <a:ext cx="603250" cy="565150"/>
            </a:xfrm>
            <a:custGeom>
              <a:avLst/>
              <a:gdLst>
                <a:gd name="connsiteX0" fmla="*/ 584518 w 603250"/>
                <a:gd name="connsiteY0" fmla="*/ 548958 h 565150"/>
                <a:gd name="connsiteX1" fmla="*/ 587058 w 603250"/>
                <a:gd name="connsiteY1" fmla="*/ 546418 h 565150"/>
                <a:gd name="connsiteX2" fmla="*/ 589598 w 603250"/>
                <a:gd name="connsiteY2" fmla="*/ 543243 h 565150"/>
                <a:gd name="connsiteX3" fmla="*/ 591503 w 603250"/>
                <a:gd name="connsiteY3" fmla="*/ 540703 h 565150"/>
                <a:gd name="connsiteX4" fmla="*/ 594043 w 603250"/>
                <a:gd name="connsiteY4" fmla="*/ 536893 h 565150"/>
                <a:gd name="connsiteX5" fmla="*/ 595948 w 603250"/>
                <a:gd name="connsiteY5" fmla="*/ 533718 h 565150"/>
                <a:gd name="connsiteX6" fmla="*/ 597853 w 603250"/>
                <a:gd name="connsiteY6" fmla="*/ 529273 h 565150"/>
                <a:gd name="connsiteX7" fmla="*/ 599123 w 603250"/>
                <a:gd name="connsiteY7" fmla="*/ 526098 h 565150"/>
                <a:gd name="connsiteX8" fmla="*/ 600393 w 603250"/>
                <a:gd name="connsiteY8" fmla="*/ 520383 h 565150"/>
                <a:gd name="connsiteX9" fmla="*/ 601028 w 603250"/>
                <a:gd name="connsiteY9" fmla="*/ 517208 h 565150"/>
                <a:gd name="connsiteX10" fmla="*/ 602298 w 603250"/>
                <a:gd name="connsiteY10" fmla="*/ 510223 h 565150"/>
                <a:gd name="connsiteX11" fmla="*/ 602933 w 603250"/>
                <a:gd name="connsiteY11" fmla="*/ 507048 h 565150"/>
                <a:gd name="connsiteX12" fmla="*/ 603568 w 603250"/>
                <a:gd name="connsiteY12" fmla="*/ 496253 h 565150"/>
                <a:gd name="connsiteX13" fmla="*/ 543878 w 603250"/>
                <a:gd name="connsiteY13" fmla="*/ 360998 h 565150"/>
                <a:gd name="connsiteX14" fmla="*/ 428308 w 603250"/>
                <a:gd name="connsiteY14" fmla="*/ 186372 h 565150"/>
                <a:gd name="connsiteX15" fmla="*/ 410528 w 603250"/>
                <a:gd name="connsiteY15" fmla="*/ 178117 h 565150"/>
                <a:gd name="connsiteX16" fmla="*/ 281623 w 603250"/>
                <a:gd name="connsiteY16" fmla="*/ 25717 h 565150"/>
                <a:gd name="connsiteX17" fmla="*/ 267018 w 603250"/>
                <a:gd name="connsiteY17" fmla="*/ 18097 h 565150"/>
                <a:gd name="connsiteX18" fmla="*/ 262573 w 603250"/>
                <a:gd name="connsiteY18" fmla="*/ 16192 h 565150"/>
                <a:gd name="connsiteX19" fmla="*/ 252413 w 603250"/>
                <a:gd name="connsiteY19" fmla="*/ 12382 h 565150"/>
                <a:gd name="connsiteX20" fmla="*/ 247968 w 603250"/>
                <a:gd name="connsiteY20" fmla="*/ 10478 h 565150"/>
                <a:gd name="connsiteX21" fmla="*/ 237808 w 603250"/>
                <a:gd name="connsiteY21" fmla="*/ 7303 h 565150"/>
                <a:gd name="connsiteX22" fmla="*/ 233998 w 603250"/>
                <a:gd name="connsiteY22" fmla="*/ 6667 h 565150"/>
                <a:gd name="connsiteX23" fmla="*/ 220663 w 603250"/>
                <a:gd name="connsiteY23" fmla="*/ 4763 h 565150"/>
                <a:gd name="connsiteX24" fmla="*/ 218123 w 603250"/>
                <a:gd name="connsiteY24" fmla="*/ 4763 h 565150"/>
                <a:gd name="connsiteX25" fmla="*/ 207963 w 603250"/>
                <a:gd name="connsiteY25" fmla="*/ 4763 h 565150"/>
                <a:gd name="connsiteX26" fmla="*/ 204153 w 603250"/>
                <a:gd name="connsiteY26" fmla="*/ 4763 h 565150"/>
                <a:gd name="connsiteX27" fmla="*/ 195898 w 603250"/>
                <a:gd name="connsiteY27" fmla="*/ 6032 h 565150"/>
                <a:gd name="connsiteX28" fmla="*/ 192088 w 603250"/>
                <a:gd name="connsiteY28" fmla="*/ 6667 h 565150"/>
                <a:gd name="connsiteX29" fmla="*/ 182563 w 603250"/>
                <a:gd name="connsiteY29" fmla="*/ 9207 h 565150"/>
                <a:gd name="connsiteX30" fmla="*/ 180658 w 603250"/>
                <a:gd name="connsiteY30" fmla="*/ 9842 h 565150"/>
                <a:gd name="connsiteX31" fmla="*/ 170498 w 603250"/>
                <a:gd name="connsiteY31" fmla="*/ 14922 h 565150"/>
                <a:gd name="connsiteX32" fmla="*/ 150178 w 603250"/>
                <a:gd name="connsiteY32" fmla="*/ 31433 h 565150"/>
                <a:gd name="connsiteX33" fmla="*/ 132398 w 603250"/>
                <a:gd name="connsiteY33" fmla="*/ 61278 h 565150"/>
                <a:gd name="connsiteX34" fmla="*/ 123508 w 603250"/>
                <a:gd name="connsiteY34" fmla="*/ 55562 h 565150"/>
                <a:gd name="connsiteX35" fmla="*/ 111443 w 603250"/>
                <a:gd name="connsiteY35" fmla="*/ 49212 h 565150"/>
                <a:gd name="connsiteX36" fmla="*/ 106998 w 603250"/>
                <a:gd name="connsiteY36" fmla="*/ 47308 h 565150"/>
                <a:gd name="connsiteX37" fmla="*/ 99378 w 603250"/>
                <a:gd name="connsiteY37" fmla="*/ 44133 h 565150"/>
                <a:gd name="connsiteX38" fmla="*/ 94933 w 603250"/>
                <a:gd name="connsiteY38" fmla="*/ 42862 h 565150"/>
                <a:gd name="connsiteX39" fmla="*/ 87948 w 603250"/>
                <a:gd name="connsiteY39" fmla="*/ 40958 h 565150"/>
                <a:gd name="connsiteX40" fmla="*/ 83503 w 603250"/>
                <a:gd name="connsiteY40" fmla="*/ 40322 h 565150"/>
                <a:gd name="connsiteX41" fmla="*/ 77153 w 603250"/>
                <a:gd name="connsiteY41" fmla="*/ 39053 h 565150"/>
                <a:gd name="connsiteX42" fmla="*/ 72708 w 603250"/>
                <a:gd name="connsiteY42" fmla="*/ 39053 h 565150"/>
                <a:gd name="connsiteX43" fmla="*/ 66993 w 603250"/>
                <a:gd name="connsiteY43" fmla="*/ 39053 h 565150"/>
                <a:gd name="connsiteX44" fmla="*/ 62548 w 603250"/>
                <a:gd name="connsiteY44" fmla="*/ 39687 h 565150"/>
                <a:gd name="connsiteX45" fmla="*/ 57468 w 603250"/>
                <a:gd name="connsiteY45" fmla="*/ 40322 h 565150"/>
                <a:gd name="connsiteX46" fmla="*/ 53023 w 603250"/>
                <a:gd name="connsiteY46" fmla="*/ 41592 h 565150"/>
                <a:gd name="connsiteX47" fmla="*/ 47943 w 603250"/>
                <a:gd name="connsiteY47" fmla="*/ 42862 h 565150"/>
                <a:gd name="connsiteX48" fmla="*/ 44133 w 603250"/>
                <a:gd name="connsiteY48" fmla="*/ 44767 h 565150"/>
                <a:gd name="connsiteX49" fmla="*/ 39688 w 603250"/>
                <a:gd name="connsiteY49" fmla="*/ 46672 h 565150"/>
                <a:gd name="connsiteX50" fmla="*/ 4763 w 603250"/>
                <a:gd name="connsiteY50" fmla="*/ 122872 h 565150"/>
                <a:gd name="connsiteX51" fmla="*/ 123508 w 603250"/>
                <a:gd name="connsiteY51" fmla="*/ 327978 h 565150"/>
                <a:gd name="connsiteX52" fmla="*/ 508953 w 603250"/>
                <a:gd name="connsiteY52" fmla="*/ 550862 h 565150"/>
                <a:gd name="connsiteX53" fmla="*/ 578803 w 603250"/>
                <a:gd name="connsiteY53" fmla="*/ 555308 h 565150"/>
                <a:gd name="connsiteX54" fmla="*/ 581343 w 603250"/>
                <a:gd name="connsiteY54" fmla="*/ 553403 h 565150"/>
                <a:gd name="connsiteX55" fmla="*/ 584518 w 603250"/>
                <a:gd name="connsiteY55" fmla="*/ 548958 h 56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603250" h="565150">
                  <a:moveTo>
                    <a:pt x="584518" y="548958"/>
                  </a:moveTo>
                  <a:cubicBezTo>
                    <a:pt x="585153" y="548323"/>
                    <a:pt x="586423" y="547687"/>
                    <a:pt x="587058" y="546418"/>
                  </a:cubicBezTo>
                  <a:cubicBezTo>
                    <a:pt x="587693" y="545148"/>
                    <a:pt x="588963" y="543878"/>
                    <a:pt x="589598" y="543243"/>
                  </a:cubicBezTo>
                  <a:cubicBezTo>
                    <a:pt x="590233" y="542608"/>
                    <a:pt x="590868" y="541337"/>
                    <a:pt x="591503" y="540703"/>
                  </a:cubicBezTo>
                  <a:cubicBezTo>
                    <a:pt x="592138" y="539433"/>
                    <a:pt x="592773" y="538162"/>
                    <a:pt x="594043" y="536893"/>
                  </a:cubicBezTo>
                  <a:cubicBezTo>
                    <a:pt x="594678" y="535623"/>
                    <a:pt x="595313" y="534987"/>
                    <a:pt x="595948" y="533718"/>
                  </a:cubicBezTo>
                  <a:cubicBezTo>
                    <a:pt x="596583" y="532448"/>
                    <a:pt x="597218" y="530543"/>
                    <a:pt x="597853" y="529273"/>
                  </a:cubicBezTo>
                  <a:cubicBezTo>
                    <a:pt x="598488" y="528003"/>
                    <a:pt x="598488" y="527368"/>
                    <a:pt x="599123" y="526098"/>
                  </a:cubicBezTo>
                  <a:cubicBezTo>
                    <a:pt x="599758" y="524192"/>
                    <a:pt x="600393" y="522287"/>
                    <a:pt x="600393" y="520383"/>
                  </a:cubicBezTo>
                  <a:cubicBezTo>
                    <a:pt x="600393" y="519112"/>
                    <a:pt x="601028" y="517842"/>
                    <a:pt x="601028" y="517208"/>
                  </a:cubicBezTo>
                  <a:cubicBezTo>
                    <a:pt x="601663" y="515303"/>
                    <a:pt x="601663" y="512762"/>
                    <a:pt x="602298" y="510223"/>
                  </a:cubicBezTo>
                  <a:cubicBezTo>
                    <a:pt x="602298" y="508953"/>
                    <a:pt x="602933" y="508317"/>
                    <a:pt x="602933" y="507048"/>
                  </a:cubicBezTo>
                  <a:cubicBezTo>
                    <a:pt x="603568" y="503873"/>
                    <a:pt x="603568" y="500062"/>
                    <a:pt x="603568" y="496253"/>
                  </a:cubicBezTo>
                  <a:cubicBezTo>
                    <a:pt x="603568" y="450533"/>
                    <a:pt x="578803" y="397192"/>
                    <a:pt x="543878" y="360998"/>
                  </a:cubicBezTo>
                  <a:cubicBezTo>
                    <a:pt x="532448" y="293053"/>
                    <a:pt x="484823" y="218758"/>
                    <a:pt x="428308" y="186372"/>
                  </a:cubicBezTo>
                  <a:cubicBezTo>
                    <a:pt x="422593" y="183197"/>
                    <a:pt x="416243" y="180022"/>
                    <a:pt x="410528" y="178117"/>
                  </a:cubicBezTo>
                  <a:cubicBezTo>
                    <a:pt x="382588" y="114617"/>
                    <a:pt x="334963" y="56833"/>
                    <a:pt x="281623" y="25717"/>
                  </a:cubicBezTo>
                  <a:cubicBezTo>
                    <a:pt x="276543" y="22542"/>
                    <a:pt x="271463" y="20638"/>
                    <a:pt x="267018" y="18097"/>
                  </a:cubicBezTo>
                  <a:cubicBezTo>
                    <a:pt x="265748" y="17463"/>
                    <a:pt x="263843" y="16828"/>
                    <a:pt x="262573" y="16192"/>
                  </a:cubicBezTo>
                  <a:cubicBezTo>
                    <a:pt x="259398" y="14922"/>
                    <a:pt x="255588" y="13653"/>
                    <a:pt x="252413" y="12382"/>
                  </a:cubicBezTo>
                  <a:cubicBezTo>
                    <a:pt x="251143" y="11747"/>
                    <a:pt x="249238" y="11113"/>
                    <a:pt x="247968" y="10478"/>
                  </a:cubicBezTo>
                  <a:cubicBezTo>
                    <a:pt x="244793" y="9207"/>
                    <a:pt x="240983" y="8572"/>
                    <a:pt x="237808" y="7303"/>
                  </a:cubicBezTo>
                  <a:cubicBezTo>
                    <a:pt x="236538" y="7303"/>
                    <a:pt x="235268" y="6667"/>
                    <a:pt x="233998" y="6667"/>
                  </a:cubicBezTo>
                  <a:cubicBezTo>
                    <a:pt x="229553" y="6032"/>
                    <a:pt x="225108" y="4763"/>
                    <a:pt x="220663" y="4763"/>
                  </a:cubicBezTo>
                  <a:cubicBezTo>
                    <a:pt x="220028" y="4763"/>
                    <a:pt x="218758" y="4763"/>
                    <a:pt x="218123" y="4763"/>
                  </a:cubicBezTo>
                  <a:cubicBezTo>
                    <a:pt x="214948" y="4763"/>
                    <a:pt x="211138" y="4763"/>
                    <a:pt x="207963" y="4763"/>
                  </a:cubicBezTo>
                  <a:cubicBezTo>
                    <a:pt x="206693" y="4763"/>
                    <a:pt x="205423" y="4763"/>
                    <a:pt x="204153" y="4763"/>
                  </a:cubicBezTo>
                  <a:cubicBezTo>
                    <a:pt x="201613" y="4763"/>
                    <a:pt x="198438" y="5397"/>
                    <a:pt x="195898" y="6032"/>
                  </a:cubicBezTo>
                  <a:cubicBezTo>
                    <a:pt x="194628" y="6032"/>
                    <a:pt x="193358" y="6667"/>
                    <a:pt x="192088" y="6667"/>
                  </a:cubicBezTo>
                  <a:cubicBezTo>
                    <a:pt x="188913" y="7303"/>
                    <a:pt x="185738" y="8572"/>
                    <a:pt x="182563" y="9207"/>
                  </a:cubicBezTo>
                  <a:cubicBezTo>
                    <a:pt x="181928" y="9207"/>
                    <a:pt x="181293" y="9207"/>
                    <a:pt x="180658" y="9842"/>
                  </a:cubicBezTo>
                  <a:cubicBezTo>
                    <a:pt x="176848" y="11113"/>
                    <a:pt x="173673" y="13017"/>
                    <a:pt x="170498" y="14922"/>
                  </a:cubicBezTo>
                  <a:cubicBezTo>
                    <a:pt x="162878" y="19367"/>
                    <a:pt x="156528" y="24447"/>
                    <a:pt x="150178" y="31433"/>
                  </a:cubicBezTo>
                  <a:cubicBezTo>
                    <a:pt x="143193" y="39687"/>
                    <a:pt x="136843" y="49212"/>
                    <a:pt x="132398" y="61278"/>
                  </a:cubicBezTo>
                  <a:cubicBezTo>
                    <a:pt x="129223" y="59372"/>
                    <a:pt x="126683" y="57467"/>
                    <a:pt x="123508" y="55562"/>
                  </a:cubicBezTo>
                  <a:cubicBezTo>
                    <a:pt x="119698" y="53022"/>
                    <a:pt x="115253" y="51117"/>
                    <a:pt x="111443" y="49212"/>
                  </a:cubicBezTo>
                  <a:cubicBezTo>
                    <a:pt x="110173" y="48578"/>
                    <a:pt x="108903" y="47942"/>
                    <a:pt x="106998" y="47308"/>
                  </a:cubicBezTo>
                  <a:cubicBezTo>
                    <a:pt x="104458" y="46037"/>
                    <a:pt x="101918" y="45403"/>
                    <a:pt x="99378" y="44133"/>
                  </a:cubicBezTo>
                  <a:cubicBezTo>
                    <a:pt x="98108" y="43497"/>
                    <a:pt x="96203" y="43497"/>
                    <a:pt x="94933" y="42862"/>
                  </a:cubicBezTo>
                  <a:cubicBezTo>
                    <a:pt x="92393" y="42228"/>
                    <a:pt x="90488" y="41592"/>
                    <a:pt x="87948" y="40958"/>
                  </a:cubicBezTo>
                  <a:cubicBezTo>
                    <a:pt x="86678" y="40322"/>
                    <a:pt x="84773" y="40322"/>
                    <a:pt x="83503" y="40322"/>
                  </a:cubicBezTo>
                  <a:cubicBezTo>
                    <a:pt x="81598" y="39687"/>
                    <a:pt x="79058" y="39687"/>
                    <a:pt x="77153" y="39053"/>
                  </a:cubicBezTo>
                  <a:cubicBezTo>
                    <a:pt x="75883" y="39053"/>
                    <a:pt x="73978" y="39053"/>
                    <a:pt x="72708" y="39053"/>
                  </a:cubicBezTo>
                  <a:cubicBezTo>
                    <a:pt x="70803" y="39053"/>
                    <a:pt x="68898" y="39053"/>
                    <a:pt x="66993" y="39053"/>
                  </a:cubicBezTo>
                  <a:cubicBezTo>
                    <a:pt x="65723" y="39053"/>
                    <a:pt x="63818" y="39687"/>
                    <a:pt x="62548" y="39687"/>
                  </a:cubicBezTo>
                  <a:cubicBezTo>
                    <a:pt x="60643" y="39687"/>
                    <a:pt x="58738" y="40322"/>
                    <a:pt x="57468" y="40322"/>
                  </a:cubicBezTo>
                  <a:cubicBezTo>
                    <a:pt x="56198" y="40322"/>
                    <a:pt x="54928" y="40958"/>
                    <a:pt x="53023" y="41592"/>
                  </a:cubicBezTo>
                  <a:cubicBezTo>
                    <a:pt x="51118" y="42228"/>
                    <a:pt x="49848" y="42228"/>
                    <a:pt x="47943" y="42862"/>
                  </a:cubicBezTo>
                  <a:cubicBezTo>
                    <a:pt x="46673" y="43497"/>
                    <a:pt x="45403" y="44133"/>
                    <a:pt x="44133" y="44767"/>
                  </a:cubicBezTo>
                  <a:cubicBezTo>
                    <a:pt x="42863" y="45403"/>
                    <a:pt x="40958" y="46037"/>
                    <a:pt x="39688" y="46672"/>
                  </a:cubicBezTo>
                  <a:cubicBezTo>
                    <a:pt x="18098" y="58737"/>
                    <a:pt x="4763" y="85408"/>
                    <a:pt x="4763" y="122872"/>
                  </a:cubicBezTo>
                  <a:cubicBezTo>
                    <a:pt x="4763" y="198437"/>
                    <a:pt x="57468" y="289878"/>
                    <a:pt x="123508" y="327978"/>
                  </a:cubicBezTo>
                  <a:lnTo>
                    <a:pt x="508953" y="550862"/>
                  </a:lnTo>
                  <a:cubicBezTo>
                    <a:pt x="536893" y="566737"/>
                    <a:pt x="561658" y="567373"/>
                    <a:pt x="578803" y="555308"/>
                  </a:cubicBezTo>
                  <a:cubicBezTo>
                    <a:pt x="579438" y="554673"/>
                    <a:pt x="580708" y="554037"/>
                    <a:pt x="581343" y="553403"/>
                  </a:cubicBezTo>
                  <a:cubicBezTo>
                    <a:pt x="582613" y="550862"/>
                    <a:pt x="583883" y="549593"/>
                    <a:pt x="584518" y="54895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4" name="组合 3"/>
          <p:cNvGrpSpPr/>
          <p:nvPr userDrawn="1"/>
        </p:nvGrpSpPr>
        <p:grpSpPr>
          <a:xfrm>
            <a:off x="9961095" y="1399411"/>
            <a:ext cx="297181" cy="270868"/>
            <a:chOff x="6141868" y="909598"/>
            <a:chExt cx="297181" cy="270868"/>
          </a:xfrm>
        </p:grpSpPr>
        <p:sp>
          <p:nvSpPr>
            <p:cNvPr id="143" name="任意多边形: 形状 142"/>
            <p:cNvSpPr/>
            <p:nvPr/>
          </p:nvSpPr>
          <p:spPr>
            <a:xfrm flipH="1">
              <a:off x="6141868" y="909598"/>
              <a:ext cx="222250" cy="266700"/>
            </a:xfrm>
            <a:custGeom>
              <a:avLst/>
              <a:gdLst>
                <a:gd name="connsiteX0" fmla="*/ 189547 w 222250"/>
                <a:gd name="connsiteY0" fmla="*/ 167045 h 266700"/>
                <a:gd name="connsiteX1" fmla="*/ 136842 w 222250"/>
                <a:gd name="connsiteY1" fmla="*/ 87670 h 266700"/>
                <a:gd name="connsiteX2" fmla="*/ 129222 w 222250"/>
                <a:gd name="connsiteY2" fmla="*/ 83860 h 266700"/>
                <a:gd name="connsiteX3" fmla="*/ 70803 w 222250"/>
                <a:gd name="connsiteY3" fmla="*/ 14645 h 266700"/>
                <a:gd name="connsiteX4" fmla="*/ 20003 w 222250"/>
                <a:gd name="connsiteY4" fmla="*/ 9565 h 266700"/>
                <a:gd name="connsiteX5" fmla="*/ 4763 w 222250"/>
                <a:gd name="connsiteY5" fmla="*/ 18455 h 266700"/>
                <a:gd name="connsiteX6" fmla="*/ 5397 w 222250"/>
                <a:gd name="connsiteY6" fmla="*/ 18455 h 266700"/>
                <a:gd name="connsiteX7" fmla="*/ 9842 w 222250"/>
                <a:gd name="connsiteY7" fmla="*/ 16550 h 266700"/>
                <a:gd name="connsiteX8" fmla="*/ 10478 w 222250"/>
                <a:gd name="connsiteY8" fmla="*/ 16550 h 266700"/>
                <a:gd name="connsiteX9" fmla="*/ 14922 w 222250"/>
                <a:gd name="connsiteY9" fmla="*/ 15280 h 266700"/>
                <a:gd name="connsiteX10" fmla="*/ 16828 w 222250"/>
                <a:gd name="connsiteY10" fmla="*/ 15280 h 266700"/>
                <a:gd name="connsiteX11" fmla="*/ 20638 w 222250"/>
                <a:gd name="connsiteY11" fmla="*/ 14645 h 266700"/>
                <a:gd name="connsiteX12" fmla="*/ 22542 w 222250"/>
                <a:gd name="connsiteY12" fmla="*/ 14645 h 266700"/>
                <a:gd name="connsiteX13" fmla="*/ 26988 w 222250"/>
                <a:gd name="connsiteY13" fmla="*/ 14645 h 266700"/>
                <a:gd name="connsiteX14" fmla="*/ 28257 w 222250"/>
                <a:gd name="connsiteY14" fmla="*/ 14645 h 266700"/>
                <a:gd name="connsiteX15" fmla="*/ 33972 w 222250"/>
                <a:gd name="connsiteY15" fmla="*/ 15280 h 266700"/>
                <a:gd name="connsiteX16" fmla="*/ 35878 w 222250"/>
                <a:gd name="connsiteY16" fmla="*/ 15915 h 266700"/>
                <a:gd name="connsiteX17" fmla="*/ 40322 w 222250"/>
                <a:gd name="connsiteY17" fmla="*/ 17185 h 266700"/>
                <a:gd name="connsiteX18" fmla="*/ 42228 w 222250"/>
                <a:gd name="connsiteY18" fmla="*/ 17820 h 266700"/>
                <a:gd name="connsiteX19" fmla="*/ 46672 w 222250"/>
                <a:gd name="connsiteY19" fmla="*/ 19725 h 266700"/>
                <a:gd name="connsiteX20" fmla="*/ 48578 w 222250"/>
                <a:gd name="connsiteY20" fmla="*/ 20360 h 266700"/>
                <a:gd name="connsiteX21" fmla="*/ 55563 w 222250"/>
                <a:gd name="connsiteY21" fmla="*/ 23535 h 266700"/>
                <a:gd name="connsiteX22" fmla="*/ 113982 w 222250"/>
                <a:gd name="connsiteY22" fmla="*/ 92750 h 266700"/>
                <a:gd name="connsiteX23" fmla="*/ 121603 w 222250"/>
                <a:gd name="connsiteY23" fmla="*/ 96560 h 266700"/>
                <a:gd name="connsiteX24" fmla="*/ 174307 w 222250"/>
                <a:gd name="connsiteY24" fmla="*/ 175935 h 266700"/>
                <a:gd name="connsiteX25" fmla="*/ 201613 w 222250"/>
                <a:gd name="connsiteY25" fmla="*/ 237530 h 266700"/>
                <a:gd name="connsiteX26" fmla="*/ 201613 w 222250"/>
                <a:gd name="connsiteY26" fmla="*/ 242610 h 266700"/>
                <a:gd name="connsiteX27" fmla="*/ 201613 w 222250"/>
                <a:gd name="connsiteY27" fmla="*/ 243880 h 266700"/>
                <a:gd name="connsiteX28" fmla="*/ 200978 w 222250"/>
                <a:gd name="connsiteY28" fmla="*/ 247055 h 266700"/>
                <a:gd name="connsiteX29" fmla="*/ 200342 w 222250"/>
                <a:gd name="connsiteY29" fmla="*/ 248325 h 266700"/>
                <a:gd name="connsiteX30" fmla="*/ 199707 w 222250"/>
                <a:gd name="connsiteY30" fmla="*/ 250865 h 266700"/>
                <a:gd name="connsiteX31" fmla="*/ 199072 w 222250"/>
                <a:gd name="connsiteY31" fmla="*/ 252135 h 266700"/>
                <a:gd name="connsiteX32" fmla="*/ 198438 w 222250"/>
                <a:gd name="connsiteY32" fmla="*/ 254040 h 266700"/>
                <a:gd name="connsiteX33" fmla="*/ 197803 w 222250"/>
                <a:gd name="connsiteY33" fmla="*/ 255310 h 266700"/>
                <a:gd name="connsiteX34" fmla="*/ 196532 w 222250"/>
                <a:gd name="connsiteY34" fmla="*/ 257215 h 266700"/>
                <a:gd name="connsiteX35" fmla="*/ 195897 w 222250"/>
                <a:gd name="connsiteY35" fmla="*/ 258485 h 266700"/>
                <a:gd name="connsiteX36" fmla="*/ 194628 w 222250"/>
                <a:gd name="connsiteY36" fmla="*/ 259755 h 266700"/>
                <a:gd name="connsiteX37" fmla="*/ 193357 w 222250"/>
                <a:gd name="connsiteY37" fmla="*/ 261025 h 266700"/>
                <a:gd name="connsiteX38" fmla="*/ 192088 w 222250"/>
                <a:gd name="connsiteY38" fmla="*/ 262295 h 266700"/>
                <a:gd name="connsiteX39" fmla="*/ 190817 w 222250"/>
                <a:gd name="connsiteY39" fmla="*/ 262930 h 266700"/>
                <a:gd name="connsiteX40" fmla="*/ 189547 w 222250"/>
                <a:gd name="connsiteY40" fmla="*/ 264200 h 266700"/>
                <a:gd name="connsiteX41" fmla="*/ 204788 w 222250"/>
                <a:gd name="connsiteY41" fmla="*/ 255310 h 266700"/>
                <a:gd name="connsiteX42" fmla="*/ 217488 w 222250"/>
                <a:gd name="connsiteY42" fmla="*/ 228005 h 266700"/>
                <a:gd name="connsiteX43" fmla="*/ 189547 w 222250"/>
                <a:gd name="connsiteY43" fmla="*/ 167045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22250" h="266700">
                  <a:moveTo>
                    <a:pt x="189547" y="167045"/>
                  </a:moveTo>
                  <a:cubicBezTo>
                    <a:pt x="184467" y="135930"/>
                    <a:pt x="162878" y="102910"/>
                    <a:pt x="136842" y="87670"/>
                  </a:cubicBezTo>
                  <a:cubicBezTo>
                    <a:pt x="134303" y="86400"/>
                    <a:pt x="131763" y="85130"/>
                    <a:pt x="129222" y="83860"/>
                  </a:cubicBezTo>
                  <a:cubicBezTo>
                    <a:pt x="116522" y="55285"/>
                    <a:pt x="94932" y="28615"/>
                    <a:pt x="70803" y="14645"/>
                  </a:cubicBezTo>
                  <a:cubicBezTo>
                    <a:pt x="51117" y="3215"/>
                    <a:pt x="33338" y="1945"/>
                    <a:pt x="20003" y="9565"/>
                  </a:cubicBezTo>
                  <a:lnTo>
                    <a:pt x="4763" y="18455"/>
                  </a:lnTo>
                  <a:cubicBezTo>
                    <a:pt x="4763" y="18455"/>
                    <a:pt x="4763" y="18455"/>
                    <a:pt x="5397" y="18455"/>
                  </a:cubicBezTo>
                  <a:cubicBezTo>
                    <a:pt x="6667" y="17820"/>
                    <a:pt x="8572" y="17185"/>
                    <a:pt x="9842" y="16550"/>
                  </a:cubicBezTo>
                  <a:cubicBezTo>
                    <a:pt x="9842" y="16550"/>
                    <a:pt x="10478" y="16550"/>
                    <a:pt x="10478" y="16550"/>
                  </a:cubicBezTo>
                  <a:cubicBezTo>
                    <a:pt x="11747" y="15915"/>
                    <a:pt x="13017" y="15915"/>
                    <a:pt x="14922" y="15280"/>
                  </a:cubicBezTo>
                  <a:cubicBezTo>
                    <a:pt x="15557" y="15280"/>
                    <a:pt x="16192" y="15280"/>
                    <a:pt x="16828" y="15280"/>
                  </a:cubicBezTo>
                  <a:cubicBezTo>
                    <a:pt x="18097" y="15280"/>
                    <a:pt x="19367" y="14645"/>
                    <a:pt x="20638" y="14645"/>
                  </a:cubicBezTo>
                  <a:cubicBezTo>
                    <a:pt x="21272" y="14645"/>
                    <a:pt x="21907" y="14645"/>
                    <a:pt x="22542" y="14645"/>
                  </a:cubicBezTo>
                  <a:cubicBezTo>
                    <a:pt x="23813" y="14645"/>
                    <a:pt x="25717" y="14645"/>
                    <a:pt x="26988" y="14645"/>
                  </a:cubicBezTo>
                  <a:cubicBezTo>
                    <a:pt x="27622" y="14645"/>
                    <a:pt x="27622" y="14645"/>
                    <a:pt x="28257" y="14645"/>
                  </a:cubicBezTo>
                  <a:cubicBezTo>
                    <a:pt x="30163" y="14645"/>
                    <a:pt x="32067" y="15280"/>
                    <a:pt x="33972" y="15280"/>
                  </a:cubicBezTo>
                  <a:cubicBezTo>
                    <a:pt x="34607" y="15280"/>
                    <a:pt x="35242" y="15280"/>
                    <a:pt x="35878" y="15915"/>
                  </a:cubicBezTo>
                  <a:cubicBezTo>
                    <a:pt x="37147" y="16550"/>
                    <a:pt x="39053" y="16550"/>
                    <a:pt x="40322" y="17185"/>
                  </a:cubicBezTo>
                  <a:cubicBezTo>
                    <a:pt x="40957" y="17185"/>
                    <a:pt x="41592" y="17820"/>
                    <a:pt x="42228" y="17820"/>
                  </a:cubicBezTo>
                  <a:cubicBezTo>
                    <a:pt x="43497" y="18455"/>
                    <a:pt x="45403" y="19090"/>
                    <a:pt x="46672" y="19725"/>
                  </a:cubicBezTo>
                  <a:cubicBezTo>
                    <a:pt x="47307" y="19725"/>
                    <a:pt x="47942" y="20360"/>
                    <a:pt x="48578" y="20360"/>
                  </a:cubicBezTo>
                  <a:cubicBezTo>
                    <a:pt x="50482" y="21630"/>
                    <a:pt x="53022" y="22265"/>
                    <a:pt x="55563" y="23535"/>
                  </a:cubicBezTo>
                  <a:cubicBezTo>
                    <a:pt x="79692" y="37505"/>
                    <a:pt x="101282" y="64175"/>
                    <a:pt x="113982" y="92750"/>
                  </a:cubicBezTo>
                  <a:cubicBezTo>
                    <a:pt x="116522" y="94020"/>
                    <a:pt x="119063" y="95290"/>
                    <a:pt x="121603" y="96560"/>
                  </a:cubicBezTo>
                  <a:cubicBezTo>
                    <a:pt x="147638" y="111800"/>
                    <a:pt x="169228" y="144820"/>
                    <a:pt x="174307" y="175935"/>
                  </a:cubicBezTo>
                  <a:cubicBezTo>
                    <a:pt x="190182" y="192445"/>
                    <a:pt x="201613" y="216575"/>
                    <a:pt x="201613" y="237530"/>
                  </a:cubicBezTo>
                  <a:cubicBezTo>
                    <a:pt x="201613" y="239435"/>
                    <a:pt x="201613" y="240705"/>
                    <a:pt x="201613" y="242610"/>
                  </a:cubicBezTo>
                  <a:cubicBezTo>
                    <a:pt x="201613" y="243245"/>
                    <a:pt x="201613" y="243245"/>
                    <a:pt x="201613" y="243880"/>
                  </a:cubicBezTo>
                  <a:cubicBezTo>
                    <a:pt x="201613" y="245150"/>
                    <a:pt x="201613" y="245785"/>
                    <a:pt x="200978" y="247055"/>
                  </a:cubicBezTo>
                  <a:cubicBezTo>
                    <a:pt x="200978" y="247690"/>
                    <a:pt x="200978" y="248325"/>
                    <a:pt x="200342" y="248325"/>
                  </a:cubicBezTo>
                  <a:cubicBezTo>
                    <a:pt x="200342" y="248960"/>
                    <a:pt x="199707" y="250230"/>
                    <a:pt x="199707" y="250865"/>
                  </a:cubicBezTo>
                  <a:cubicBezTo>
                    <a:pt x="199707" y="251500"/>
                    <a:pt x="199072" y="252135"/>
                    <a:pt x="199072" y="252135"/>
                  </a:cubicBezTo>
                  <a:cubicBezTo>
                    <a:pt x="199072" y="252770"/>
                    <a:pt x="198438" y="253405"/>
                    <a:pt x="198438" y="254040"/>
                  </a:cubicBezTo>
                  <a:cubicBezTo>
                    <a:pt x="198438" y="254675"/>
                    <a:pt x="197803" y="254675"/>
                    <a:pt x="197803" y="255310"/>
                  </a:cubicBezTo>
                  <a:cubicBezTo>
                    <a:pt x="197167" y="255945"/>
                    <a:pt x="197167" y="256580"/>
                    <a:pt x="196532" y="257215"/>
                  </a:cubicBezTo>
                  <a:cubicBezTo>
                    <a:pt x="196532" y="257850"/>
                    <a:pt x="195897" y="257850"/>
                    <a:pt x="195897" y="258485"/>
                  </a:cubicBezTo>
                  <a:cubicBezTo>
                    <a:pt x="195263" y="259120"/>
                    <a:pt x="195263" y="259755"/>
                    <a:pt x="194628" y="259755"/>
                  </a:cubicBezTo>
                  <a:cubicBezTo>
                    <a:pt x="193992" y="260390"/>
                    <a:pt x="193992" y="260390"/>
                    <a:pt x="193357" y="261025"/>
                  </a:cubicBezTo>
                  <a:cubicBezTo>
                    <a:pt x="192722" y="261660"/>
                    <a:pt x="192722" y="261660"/>
                    <a:pt x="192088" y="262295"/>
                  </a:cubicBezTo>
                  <a:cubicBezTo>
                    <a:pt x="191453" y="262930"/>
                    <a:pt x="191453" y="262930"/>
                    <a:pt x="190817" y="262930"/>
                  </a:cubicBezTo>
                  <a:cubicBezTo>
                    <a:pt x="190182" y="263565"/>
                    <a:pt x="190182" y="263565"/>
                    <a:pt x="189547" y="264200"/>
                  </a:cubicBezTo>
                  <a:lnTo>
                    <a:pt x="204788" y="255310"/>
                  </a:lnTo>
                  <a:cubicBezTo>
                    <a:pt x="212407" y="250865"/>
                    <a:pt x="217488" y="241340"/>
                    <a:pt x="217488" y="228005"/>
                  </a:cubicBezTo>
                  <a:cubicBezTo>
                    <a:pt x="216853" y="207685"/>
                    <a:pt x="205422" y="183555"/>
                    <a:pt x="189547" y="167045"/>
                  </a:cubicBezTo>
                  <a:close/>
                </a:path>
              </a:pathLst>
            </a:custGeom>
            <a:solidFill>
              <a:srgbClr val="B2B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/>
            <p:cNvSpPr/>
            <p:nvPr/>
          </p:nvSpPr>
          <p:spPr>
            <a:xfrm flipH="1">
              <a:off x="6159649" y="920116"/>
              <a:ext cx="279400" cy="260350"/>
            </a:xfrm>
            <a:custGeom>
              <a:avLst/>
              <a:gdLst>
                <a:gd name="connsiteX0" fmla="*/ 267653 w 279400"/>
                <a:gd name="connsiteY0" fmla="*/ 251142 h 260350"/>
                <a:gd name="connsiteX1" fmla="*/ 268922 w 279400"/>
                <a:gd name="connsiteY1" fmla="*/ 249872 h 260350"/>
                <a:gd name="connsiteX2" fmla="*/ 270193 w 279400"/>
                <a:gd name="connsiteY2" fmla="*/ 248602 h 260350"/>
                <a:gd name="connsiteX3" fmla="*/ 270828 w 279400"/>
                <a:gd name="connsiteY3" fmla="*/ 247332 h 260350"/>
                <a:gd name="connsiteX4" fmla="*/ 272097 w 279400"/>
                <a:gd name="connsiteY4" fmla="*/ 245427 h 260350"/>
                <a:gd name="connsiteX5" fmla="*/ 272733 w 279400"/>
                <a:gd name="connsiteY5" fmla="*/ 244157 h 260350"/>
                <a:gd name="connsiteX6" fmla="*/ 273368 w 279400"/>
                <a:gd name="connsiteY6" fmla="*/ 242252 h 260350"/>
                <a:gd name="connsiteX7" fmla="*/ 274003 w 279400"/>
                <a:gd name="connsiteY7" fmla="*/ 240982 h 260350"/>
                <a:gd name="connsiteX8" fmla="*/ 274638 w 279400"/>
                <a:gd name="connsiteY8" fmla="*/ 238442 h 260350"/>
                <a:gd name="connsiteX9" fmla="*/ 275272 w 279400"/>
                <a:gd name="connsiteY9" fmla="*/ 237172 h 260350"/>
                <a:gd name="connsiteX10" fmla="*/ 275908 w 279400"/>
                <a:gd name="connsiteY10" fmla="*/ 233997 h 260350"/>
                <a:gd name="connsiteX11" fmla="*/ 275908 w 279400"/>
                <a:gd name="connsiteY11" fmla="*/ 232727 h 260350"/>
                <a:gd name="connsiteX12" fmla="*/ 275908 w 279400"/>
                <a:gd name="connsiteY12" fmla="*/ 227647 h 260350"/>
                <a:gd name="connsiteX13" fmla="*/ 248603 w 279400"/>
                <a:gd name="connsiteY13" fmla="*/ 166052 h 260350"/>
                <a:gd name="connsiteX14" fmla="*/ 195897 w 279400"/>
                <a:gd name="connsiteY14" fmla="*/ 86677 h 260350"/>
                <a:gd name="connsiteX15" fmla="*/ 188278 w 279400"/>
                <a:gd name="connsiteY15" fmla="*/ 82867 h 260350"/>
                <a:gd name="connsiteX16" fmla="*/ 129858 w 279400"/>
                <a:gd name="connsiteY16" fmla="*/ 13652 h 260350"/>
                <a:gd name="connsiteX17" fmla="*/ 122872 w 279400"/>
                <a:gd name="connsiteY17" fmla="*/ 10477 h 260350"/>
                <a:gd name="connsiteX18" fmla="*/ 120968 w 279400"/>
                <a:gd name="connsiteY18" fmla="*/ 9842 h 260350"/>
                <a:gd name="connsiteX19" fmla="*/ 116522 w 279400"/>
                <a:gd name="connsiteY19" fmla="*/ 7938 h 260350"/>
                <a:gd name="connsiteX20" fmla="*/ 114618 w 279400"/>
                <a:gd name="connsiteY20" fmla="*/ 7302 h 260350"/>
                <a:gd name="connsiteX21" fmla="*/ 110172 w 279400"/>
                <a:gd name="connsiteY21" fmla="*/ 6032 h 260350"/>
                <a:gd name="connsiteX22" fmla="*/ 108268 w 279400"/>
                <a:gd name="connsiteY22" fmla="*/ 5397 h 260350"/>
                <a:gd name="connsiteX23" fmla="*/ 102553 w 279400"/>
                <a:gd name="connsiteY23" fmla="*/ 4763 h 260350"/>
                <a:gd name="connsiteX24" fmla="*/ 101283 w 279400"/>
                <a:gd name="connsiteY24" fmla="*/ 4763 h 260350"/>
                <a:gd name="connsiteX25" fmla="*/ 96838 w 279400"/>
                <a:gd name="connsiteY25" fmla="*/ 4763 h 260350"/>
                <a:gd name="connsiteX26" fmla="*/ 94933 w 279400"/>
                <a:gd name="connsiteY26" fmla="*/ 4763 h 260350"/>
                <a:gd name="connsiteX27" fmla="*/ 91122 w 279400"/>
                <a:gd name="connsiteY27" fmla="*/ 5397 h 260350"/>
                <a:gd name="connsiteX28" fmla="*/ 89218 w 279400"/>
                <a:gd name="connsiteY28" fmla="*/ 5397 h 260350"/>
                <a:gd name="connsiteX29" fmla="*/ 84772 w 279400"/>
                <a:gd name="connsiteY29" fmla="*/ 6667 h 260350"/>
                <a:gd name="connsiteX30" fmla="*/ 84138 w 279400"/>
                <a:gd name="connsiteY30" fmla="*/ 6667 h 260350"/>
                <a:gd name="connsiteX31" fmla="*/ 79693 w 279400"/>
                <a:gd name="connsiteY31" fmla="*/ 8572 h 260350"/>
                <a:gd name="connsiteX32" fmla="*/ 70803 w 279400"/>
                <a:gd name="connsiteY32" fmla="*/ 16192 h 260350"/>
                <a:gd name="connsiteX33" fmla="*/ 62547 w 279400"/>
                <a:gd name="connsiteY33" fmla="*/ 29527 h 260350"/>
                <a:gd name="connsiteX34" fmla="*/ 58738 w 279400"/>
                <a:gd name="connsiteY34" fmla="*/ 26988 h 260350"/>
                <a:gd name="connsiteX35" fmla="*/ 53022 w 279400"/>
                <a:gd name="connsiteY35" fmla="*/ 23813 h 260350"/>
                <a:gd name="connsiteX36" fmla="*/ 51118 w 279400"/>
                <a:gd name="connsiteY36" fmla="*/ 23177 h 260350"/>
                <a:gd name="connsiteX37" fmla="*/ 47943 w 279400"/>
                <a:gd name="connsiteY37" fmla="*/ 21907 h 260350"/>
                <a:gd name="connsiteX38" fmla="*/ 46038 w 279400"/>
                <a:gd name="connsiteY38" fmla="*/ 21272 h 260350"/>
                <a:gd name="connsiteX39" fmla="*/ 42863 w 279400"/>
                <a:gd name="connsiteY39" fmla="*/ 20638 h 260350"/>
                <a:gd name="connsiteX40" fmla="*/ 40958 w 279400"/>
                <a:gd name="connsiteY40" fmla="*/ 20002 h 260350"/>
                <a:gd name="connsiteX41" fmla="*/ 37783 w 279400"/>
                <a:gd name="connsiteY41" fmla="*/ 19367 h 260350"/>
                <a:gd name="connsiteX42" fmla="*/ 35878 w 279400"/>
                <a:gd name="connsiteY42" fmla="*/ 19367 h 260350"/>
                <a:gd name="connsiteX43" fmla="*/ 33338 w 279400"/>
                <a:gd name="connsiteY43" fmla="*/ 19367 h 260350"/>
                <a:gd name="connsiteX44" fmla="*/ 31433 w 279400"/>
                <a:gd name="connsiteY44" fmla="*/ 19367 h 260350"/>
                <a:gd name="connsiteX45" fmla="*/ 28893 w 279400"/>
                <a:gd name="connsiteY45" fmla="*/ 19367 h 260350"/>
                <a:gd name="connsiteX46" fmla="*/ 26988 w 279400"/>
                <a:gd name="connsiteY46" fmla="*/ 20002 h 260350"/>
                <a:gd name="connsiteX47" fmla="*/ 24447 w 279400"/>
                <a:gd name="connsiteY47" fmla="*/ 20638 h 260350"/>
                <a:gd name="connsiteX48" fmla="*/ 22543 w 279400"/>
                <a:gd name="connsiteY48" fmla="*/ 21272 h 260350"/>
                <a:gd name="connsiteX49" fmla="*/ 20638 w 279400"/>
                <a:gd name="connsiteY49" fmla="*/ 22542 h 260350"/>
                <a:gd name="connsiteX50" fmla="*/ 4763 w 279400"/>
                <a:gd name="connsiteY50" fmla="*/ 57467 h 260350"/>
                <a:gd name="connsiteX51" fmla="*/ 58738 w 279400"/>
                <a:gd name="connsiteY51" fmla="*/ 150813 h 260350"/>
                <a:gd name="connsiteX52" fmla="*/ 233363 w 279400"/>
                <a:gd name="connsiteY52" fmla="*/ 251777 h 260350"/>
                <a:gd name="connsiteX53" fmla="*/ 265113 w 279400"/>
                <a:gd name="connsiteY53" fmla="*/ 253682 h 260350"/>
                <a:gd name="connsiteX54" fmla="*/ 266383 w 279400"/>
                <a:gd name="connsiteY54" fmla="*/ 253047 h 260350"/>
                <a:gd name="connsiteX55" fmla="*/ 267653 w 279400"/>
                <a:gd name="connsiteY55" fmla="*/ 251142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79400" h="260350">
                  <a:moveTo>
                    <a:pt x="267653" y="251142"/>
                  </a:moveTo>
                  <a:cubicBezTo>
                    <a:pt x="268288" y="250507"/>
                    <a:pt x="268288" y="250507"/>
                    <a:pt x="268922" y="249872"/>
                  </a:cubicBezTo>
                  <a:cubicBezTo>
                    <a:pt x="269558" y="249238"/>
                    <a:pt x="269558" y="248602"/>
                    <a:pt x="270193" y="248602"/>
                  </a:cubicBezTo>
                  <a:cubicBezTo>
                    <a:pt x="270193" y="247967"/>
                    <a:pt x="270828" y="247967"/>
                    <a:pt x="270828" y="247332"/>
                  </a:cubicBezTo>
                  <a:cubicBezTo>
                    <a:pt x="271463" y="246697"/>
                    <a:pt x="271463" y="246063"/>
                    <a:pt x="272097" y="245427"/>
                  </a:cubicBezTo>
                  <a:cubicBezTo>
                    <a:pt x="272097" y="244792"/>
                    <a:pt x="272733" y="244792"/>
                    <a:pt x="272733" y="244157"/>
                  </a:cubicBezTo>
                  <a:cubicBezTo>
                    <a:pt x="272733" y="243522"/>
                    <a:pt x="273368" y="242888"/>
                    <a:pt x="273368" y="242252"/>
                  </a:cubicBezTo>
                  <a:cubicBezTo>
                    <a:pt x="273368" y="241617"/>
                    <a:pt x="274003" y="240982"/>
                    <a:pt x="274003" y="240982"/>
                  </a:cubicBezTo>
                  <a:cubicBezTo>
                    <a:pt x="274003" y="240347"/>
                    <a:pt x="274638" y="239077"/>
                    <a:pt x="274638" y="238442"/>
                  </a:cubicBezTo>
                  <a:cubicBezTo>
                    <a:pt x="274638" y="237807"/>
                    <a:pt x="274638" y="237172"/>
                    <a:pt x="275272" y="237172"/>
                  </a:cubicBezTo>
                  <a:cubicBezTo>
                    <a:pt x="275272" y="235902"/>
                    <a:pt x="275908" y="235267"/>
                    <a:pt x="275908" y="233997"/>
                  </a:cubicBezTo>
                  <a:cubicBezTo>
                    <a:pt x="275908" y="233363"/>
                    <a:pt x="275908" y="233363"/>
                    <a:pt x="275908" y="232727"/>
                  </a:cubicBezTo>
                  <a:cubicBezTo>
                    <a:pt x="275908" y="231457"/>
                    <a:pt x="275908" y="229552"/>
                    <a:pt x="275908" y="227647"/>
                  </a:cubicBezTo>
                  <a:cubicBezTo>
                    <a:pt x="275908" y="206692"/>
                    <a:pt x="264478" y="182563"/>
                    <a:pt x="248603" y="166052"/>
                  </a:cubicBezTo>
                  <a:cubicBezTo>
                    <a:pt x="243522" y="134938"/>
                    <a:pt x="221933" y="101917"/>
                    <a:pt x="195897" y="86677"/>
                  </a:cubicBezTo>
                  <a:cubicBezTo>
                    <a:pt x="193358" y="85407"/>
                    <a:pt x="190818" y="84138"/>
                    <a:pt x="188278" y="82867"/>
                  </a:cubicBezTo>
                  <a:cubicBezTo>
                    <a:pt x="175578" y="54292"/>
                    <a:pt x="153988" y="27622"/>
                    <a:pt x="129858" y="13652"/>
                  </a:cubicBezTo>
                  <a:cubicBezTo>
                    <a:pt x="127318" y="12382"/>
                    <a:pt x="125413" y="11113"/>
                    <a:pt x="122872" y="10477"/>
                  </a:cubicBezTo>
                  <a:cubicBezTo>
                    <a:pt x="122238" y="9842"/>
                    <a:pt x="121603" y="9842"/>
                    <a:pt x="120968" y="9842"/>
                  </a:cubicBezTo>
                  <a:cubicBezTo>
                    <a:pt x="119697" y="9207"/>
                    <a:pt x="117793" y="8572"/>
                    <a:pt x="116522" y="7938"/>
                  </a:cubicBezTo>
                  <a:cubicBezTo>
                    <a:pt x="115888" y="7938"/>
                    <a:pt x="115253" y="7302"/>
                    <a:pt x="114618" y="7302"/>
                  </a:cubicBezTo>
                  <a:cubicBezTo>
                    <a:pt x="113347" y="6667"/>
                    <a:pt x="111443" y="6667"/>
                    <a:pt x="110172" y="6032"/>
                  </a:cubicBezTo>
                  <a:cubicBezTo>
                    <a:pt x="109538" y="6032"/>
                    <a:pt x="108903" y="6032"/>
                    <a:pt x="108268" y="5397"/>
                  </a:cubicBezTo>
                  <a:cubicBezTo>
                    <a:pt x="106363" y="4763"/>
                    <a:pt x="104458" y="4763"/>
                    <a:pt x="102553" y="4763"/>
                  </a:cubicBezTo>
                  <a:cubicBezTo>
                    <a:pt x="101918" y="4763"/>
                    <a:pt x="101918" y="4763"/>
                    <a:pt x="101283" y="4763"/>
                  </a:cubicBezTo>
                  <a:cubicBezTo>
                    <a:pt x="100013" y="4763"/>
                    <a:pt x="98108" y="4763"/>
                    <a:pt x="96838" y="4763"/>
                  </a:cubicBezTo>
                  <a:cubicBezTo>
                    <a:pt x="96203" y="4763"/>
                    <a:pt x="95568" y="4763"/>
                    <a:pt x="94933" y="4763"/>
                  </a:cubicBezTo>
                  <a:cubicBezTo>
                    <a:pt x="93663" y="4763"/>
                    <a:pt x="92393" y="4763"/>
                    <a:pt x="91122" y="5397"/>
                  </a:cubicBezTo>
                  <a:cubicBezTo>
                    <a:pt x="90488" y="5397"/>
                    <a:pt x="89853" y="5397"/>
                    <a:pt x="89218" y="5397"/>
                  </a:cubicBezTo>
                  <a:cubicBezTo>
                    <a:pt x="87947" y="6032"/>
                    <a:pt x="86043" y="6032"/>
                    <a:pt x="84772" y="6667"/>
                  </a:cubicBezTo>
                  <a:cubicBezTo>
                    <a:pt x="84772" y="6667"/>
                    <a:pt x="84138" y="6667"/>
                    <a:pt x="84138" y="6667"/>
                  </a:cubicBezTo>
                  <a:cubicBezTo>
                    <a:pt x="82233" y="7302"/>
                    <a:pt x="80963" y="7938"/>
                    <a:pt x="79693" y="8572"/>
                  </a:cubicBezTo>
                  <a:cubicBezTo>
                    <a:pt x="76518" y="10477"/>
                    <a:pt x="73343" y="13017"/>
                    <a:pt x="70803" y="16192"/>
                  </a:cubicBezTo>
                  <a:cubicBezTo>
                    <a:pt x="67628" y="20002"/>
                    <a:pt x="65088" y="24447"/>
                    <a:pt x="62547" y="29527"/>
                  </a:cubicBezTo>
                  <a:cubicBezTo>
                    <a:pt x="61278" y="28892"/>
                    <a:pt x="60008" y="27622"/>
                    <a:pt x="58738" y="26988"/>
                  </a:cubicBezTo>
                  <a:cubicBezTo>
                    <a:pt x="56833" y="25717"/>
                    <a:pt x="54928" y="25082"/>
                    <a:pt x="53022" y="23813"/>
                  </a:cubicBezTo>
                  <a:cubicBezTo>
                    <a:pt x="52388" y="23813"/>
                    <a:pt x="51753" y="23177"/>
                    <a:pt x="51118" y="23177"/>
                  </a:cubicBezTo>
                  <a:cubicBezTo>
                    <a:pt x="49847" y="22542"/>
                    <a:pt x="48578" y="21907"/>
                    <a:pt x="47943" y="21907"/>
                  </a:cubicBezTo>
                  <a:cubicBezTo>
                    <a:pt x="47308" y="21907"/>
                    <a:pt x="46672" y="21272"/>
                    <a:pt x="46038" y="21272"/>
                  </a:cubicBezTo>
                  <a:cubicBezTo>
                    <a:pt x="44768" y="21272"/>
                    <a:pt x="44133" y="20638"/>
                    <a:pt x="42863" y="20638"/>
                  </a:cubicBezTo>
                  <a:cubicBezTo>
                    <a:pt x="42228" y="20638"/>
                    <a:pt x="41593" y="20638"/>
                    <a:pt x="40958" y="20002"/>
                  </a:cubicBezTo>
                  <a:cubicBezTo>
                    <a:pt x="39688" y="20002"/>
                    <a:pt x="39053" y="19367"/>
                    <a:pt x="37783" y="19367"/>
                  </a:cubicBezTo>
                  <a:cubicBezTo>
                    <a:pt x="37147" y="19367"/>
                    <a:pt x="36513" y="19367"/>
                    <a:pt x="35878" y="19367"/>
                  </a:cubicBezTo>
                  <a:cubicBezTo>
                    <a:pt x="35243" y="19367"/>
                    <a:pt x="33972" y="19367"/>
                    <a:pt x="33338" y="19367"/>
                  </a:cubicBezTo>
                  <a:cubicBezTo>
                    <a:pt x="32703" y="19367"/>
                    <a:pt x="32068" y="19367"/>
                    <a:pt x="31433" y="19367"/>
                  </a:cubicBezTo>
                  <a:cubicBezTo>
                    <a:pt x="30797" y="19367"/>
                    <a:pt x="29528" y="19367"/>
                    <a:pt x="28893" y="19367"/>
                  </a:cubicBezTo>
                  <a:cubicBezTo>
                    <a:pt x="28258" y="19367"/>
                    <a:pt x="27622" y="20002"/>
                    <a:pt x="26988" y="20002"/>
                  </a:cubicBezTo>
                  <a:cubicBezTo>
                    <a:pt x="26353" y="20002"/>
                    <a:pt x="25718" y="20638"/>
                    <a:pt x="24447" y="20638"/>
                  </a:cubicBezTo>
                  <a:cubicBezTo>
                    <a:pt x="23813" y="20638"/>
                    <a:pt x="23178" y="21272"/>
                    <a:pt x="22543" y="21272"/>
                  </a:cubicBezTo>
                  <a:cubicBezTo>
                    <a:pt x="21908" y="21272"/>
                    <a:pt x="21272" y="21907"/>
                    <a:pt x="20638" y="22542"/>
                  </a:cubicBezTo>
                  <a:cubicBezTo>
                    <a:pt x="11113" y="28257"/>
                    <a:pt x="4763" y="40322"/>
                    <a:pt x="4763" y="57467"/>
                  </a:cubicBezTo>
                  <a:cubicBezTo>
                    <a:pt x="4763" y="91757"/>
                    <a:pt x="28893" y="133032"/>
                    <a:pt x="58738" y="150813"/>
                  </a:cubicBezTo>
                  <a:lnTo>
                    <a:pt x="233363" y="251777"/>
                  </a:lnTo>
                  <a:cubicBezTo>
                    <a:pt x="246063" y="258763"/>
                    <a:pt x="257493" y="259397"/>
                    <a:pt x="265113" y="253682"/>
                  </a:cubicBezTo>
                  <a:cubicBezTo>
                    <a:pt x="265747" y="253682"/>
                    <a:pt x="265747" y="253047"/>
                    <a:pt x="266383" y="253047"/>
                  </a:cubicBezTo>
                  <a:cubicBezTo>
                    <a:pt x="267018" y="251777"/>
                    <a:pt x="267018" y="251777"/>
                    <a:pt x="267653" y="25114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3" name="组合 2"/>
          <p:cNvGrpSpPr/>
          <p:nvPr userDrawn="1"/>
        </p:nvGrpSpPr>
        <p:grpSpPr>
          <a:xfrm>
            <a:off x="1500047" y="4205496"/>
            <a:ext cx="290830" cy="263883"/>
            <a:chOff x="3827611" y="1874480"/>
            <a:chExt cx="290830" cy="263883"/>
          </a:xfrm>
        </p:grpSpPr>
        <p:sp>
          <p:nvSpPr>
            <p:cNvPr id="145" name="任意多边形: 形状 144"/>
            <p:cNvSpPr/>
            <p:nvPr/>
          </p:nvSpPr>
          <p:spPr>
            <a:xfrm flipH="1">
              <a:off x="3827611" y="1874480"/>
              <a:ext cx="215900" cy="260350"/>
            </a:xfrm>
            <a:custGeom>
              <a:avLst/>
              <a:gdLst>
                <a:gd name="connsiteX0" fmla="*/ 187960 w 215900"/>
                <a:gd name="connsiteY0" fmla="*/ 165458 h 260350"/>
                <a:gd name="connsiteX1" fmla="*/ 135255 w 215900"/>
                <a:gd name="connsiteY1" fmla="*/ 86083 h 260350"/>
                <a:gd name="connsiteX2" fmla="*/ 127635 w 215900"/>
                <a:gd name="connsiteY2" fmla="*/ 82273 h 260350"/>
                <a:gd name="connsiteX3" fmla="*/ 69215 w 215900"/>
                <a:gd name="connsiteY3" fmla="*/ 13058 h 260350"/>
                <a:gd name="connsiteX4" fmla="*/ 18415 w 215900"/>
                <a:gd name="connsiteY4" fmla="*/ 7978 h 260350"/>
                <a:gd name="connsiteX5" fmla="*/ 3175 w 215900"/>
                <a:gd name="connsiteY5" fmla="*/ 16868 h 260350"/>
                <a:gd name="connsiteX6" fmla="*/ 3810 w 215900"/>
                <a:gd name="connsiteY6" fmla="*/ 16868 h 260350"/>
                <a:gd name="connsiteX7" fmla="*/ 8255 w 215900"/>
                <a:gd name="connsiteY7" fmla="*/ 14963 h 260350"/>
                <a:gd name="connsiteX8" fmla="*/ 8890 w 215900"/>
                <a:gd name="connsiteY8" fmla="*/ 14963 h 260350"/>
                <a:gd name="connsiteX9" fmla="*/ 13335 w 215900"/>
                <a:gd name="connsiteY9" fmla="*/ 13693 h 260350"/>
                <a:gd name="connsiteX10" fmla="*/ 15240 w 215900"/>
                <a:gd name="connsiteY10" fmla="*/ 13693 h 260350"/>
                <a:gd name="connsiteX11" fmla="*/ 19050 w 215900"/>
                <a:gd name="connsiteY11" fmla="*/ 13058 h 260350"/>
                <a:gd name="connsiteX12" fmla="*/ 20955 w 215900"/>
                <a:gd name="connsiteY12" fmla="*/ 13058 h 260350"/>
                <a:gd name="connsiteX13" fmla="*/ 25400 w 215900"/>
                <a:gd name="connsiteY13" fmla="*/ 13058 h 260350"/>
                <a:gd name="connsiteX14" fmla="*/ 26670 w 215900"/>
                <a:gd name="connsiteY14" fmla="*/ 13058 h 260350"/>
                <a:gd name="connsiteX15" fmla="*/ 32385 w 215900"/>
                <a:gd name="connsiteY15" fmla="*/ 13693 h 260350"/>
                <a:gd name="connsiteX16" fmla="*/ 34290 w 215900"/>
                <a:gd name="connsiteY16" fmla="*/ 14328 h 260350"/>
                <a:gd name="connsiteX17" fmla="*/ 38735 w 215900"/>
                <a:gd name="connsiteY17" fmla="*/ 15598 h 260350"/>
                <a:gd name="connsiteX18" fmla="*/ 40640 w 215900"/>
                <a:gd name="connsiteY18" fmla="*/ 16233 h 260350"/>
                <a:gd name="connsiteX19" fmla="*/ 45085 w 215900"/>
                <a:gd name="connsiteY19" fmla="*/ 18138 h 260350"/>
                <a:gd name="connsiteX20" fmla="*/ 46990 w 215900"/>
                <a:gd name="connsiteY20" fmla="*/ 18773 h 260350"/>
                <a:gd name="connsiteX21" fmla="*/ 53975 w 215900"/>
                <a:gd name="connsiteY21" fmla="*/ 21948 h 260350"/>
                <a:gd name="connsiteX22" fmla="*/ 112395 w 215900"/>
                <a:gd name="connsiteY22" fmla="*/ 91163 h 260350"/>
                <a:gd name="connsiteX23" fmla="*/ 120015 w 215900"/>
                <a:gd name="connsiteY23" fmla="*/ 94973 h 260350"/>
                <a:gd name="connsiteX24" fmla="*/ 172720 w 215900"/>
                <a:gd name="connsiteY24" fmla="*/ 174348 h 260350"/>
                <a:gd name="connsiteX25" fmla="*/ 200025 w 215900"/>
                <a:gd name="connsiteY25" fmla="*/ 235943 h 260350"/>
                <a:gd name="connsiteX26" fmla="*/ 200025 w 215900"/>
                <a:gd name="connsiteY26" fmla="*/ 241023 h 260350"/>
                <a:gd name="connsiteX27" fmla="*/ 200025 w 215900"/>
                <a:gd name="connsiteY27" fmla="*/ 242293 h 260350"/>
                <a:gd name="connsiteX28" fmla="*/ 199390 w 215900"/>
                <a:gd name="connsiteY28" fmla="*/ 245468 h 260350"/>
                <a:gd name="connsiteX29" fmla="*/ 198755 w 215900"/>
                <a:gd name="connsiteY29" fmla="*/ 246738 h 260350"/>
                <a:gd name="connsiteX30" fmla="*/ 198120 w 215900"/>
                <a:gd name="connsiteY30" fmla="*/ 249278 h 260350"/>
                <a:gd name="connsiteX31" fmla="*/ 197485 w 215900"/>
                <a:gd name="connsiteY31" fmla="*/ 250548 h 260350"/>
                <a:gd name="connsiteX32" fmla="*/ 196850 w 215900"/>
                <a:gd name="connsiteY32" fmla="*/ 252453 h 260350"/>
                <a:gd name="connsiteX33" fmla="*/ 196215 w 215900"/>
                <a:gd name="connsiteY33" fmla="*/ 253723 h 260350"/>
                <a:gd name="connsiteX34" fmla="*/ 194945 w 215900"/>
                <a:gd name="connsiteY34" fmla="*/ 255628 h 260350"/>
                <a:gd name="connsiteX35" fmla="*/ 194310 w 215900"/>
                <a:gd name="connsiteY35" fmla="*/ 256898 h 260350"/>
                <a:gd name="connsiteX36" fmla="*/ 193040 w 215900"/>
                <a:gd name="connsiteY36" fmla="*/ 258168 h 260350"/>
                <a:gd name="connsiteX37" fmla="*/ 191770 w 215900"/>
                <a:gd name="connsiteY37" fmla="*/ 259438 h 260350"/>
                <a:gd name="connsiteX38" fmla="*/ 190500 w 215900"/>
                <a:gd name="connsiteY38" fmla="*/ 260708 h 260350"/>
                <a:gd name="connsiteX39" fmla="*/ 189230 w 215900"/>
                <a:gd name="connsiteY39" fmla="*/ 261343 h 260350"/>
                <a:gd name="connsiteX40" fmla="*/ 187960 w 215900"/>
                <a:gd name="connsiteY40" fmla="*/ 262613 h 260350"/>
                <a:gd name="connsiteX41" fmla="*/ 203200 w 215900"/>
                <a:gd name="connsiteY41" fmla="*/ 253723 h 260350"/>
                <a:gd name="connsiteX42" fmla="*/ 215900 w 215900"/>
                <a:gd name="connsiteY42" fmla="*/ 226418 h 260350"/>
                <a:gd name="connsiteX43" fmla="*/ 187960 w 215900"/>
                <a:gd name="connsiteY43" fmla="*/ 165458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5900" h="260350">
                  <a:moveTo>
                    <a:pt x="187960" y="165458"/>
                  </a:moveTo>
                  <a:cubicBezTo>
                    <a:pt x="182880" y="134343"/>
                    <a:pt x="161290" y="101323"/>
                    <a:pt x="135255" y="86083"/>
                  </a:cubicBezTo>
                  <a:cubicBezTo>
                    <a:pt x="132715" y="84813"/>
                    <a:pt x="130175" y="83543"/>
                    <a:pt x="127635" y="82273"/>
                  </a:cubicBezTo>
                  <a:cubicBezTo>
                    <a:pt x="114935" y="53698"/>
                    <a:pt x="93345" y="27028"/>
                    <a:pt x="69215" y="13058"/>
                  </a:cubicBezTo>
                  <a:cubicBezTo>
                    <a:pt x="49530" y="1628"/>
                    <a:pt x="31750" y="358"/>
                    <a:pt x="18415" y="7978"/>
                  </a:cubicBezTo>
                  <a:lnTo>
                    <a:pt x="3175" y="16868"/>
                  </a:lnTo>
                  <a:cubicBezTo>
                    <a:pt x="3175" y="16868"/>
                    <a:pt x="3175" y="16868"/>
                    <a:pt x="3810" y="16868"/>
                  </a:cubicBezTo>
                  <a:cubicBezTo>
                    <a:pt x="5080" y="16233"/>
                    <a:pt x="6985" y="15598"/>
                    <a:pt x="8255" y="14963"/>
                  </a:cubicBezTo>
                  <a:cubicBezTo>
                    <a:pt x="8255" y="14963"/>
                    <a:pt x="8890" y="14963"/>
                    <a:pt x="8890" y="14963"/>
                  </a:cubicBezTo>
                  <a:cubicBezTo>
                    <a:pt x="10160" y="14328"/>
                    <a:pt x="11430" y="14328"/>
                    <a:pt x="13335" y="13693"/>
                  </a:cubicBezTo>
                  <a:cubicBezTo>
                    <a:pt x="13970" y="13693"/>
                    <a:pt x="14605" y="13693"/>
                    <a:pt x="15240" y="13693"/>
                  </a:cubicBezTo>
                  <a:cubicBezTo>
                    <a:pt x="16510" y="13693"/>
                    <a:pt x="17780" y="13058"/>
                    <a:pt x="19050" y="13058"/>
                  </a:cubicBezTo>
                  <a:cubicBezTo>
                    <a:pt x="19685" y="13058"/>
                    <a:pt x="20320" y="13058"/>
                    <a:pt x="20955" y="13058"/>
                  </a:cubicBezTo>
                  <a:cubicBezTo>
                    <a:pt x="22225" y="13058"/>
                    <a:pt x="24130" y="13058"/>
                    <a:pt x="25400" y="13058"/>
                  </a:cubicBezTo>
                  <a:cubicBezTo>
                    <a:pt x="26035" y="13058"/>
                    <a:pt x="26035" y="13058"/>
                    <a:pt x="26670" y="13058"/>
                  </a:cubicBezTo>
                  <a:cubicBezTo>
                    <a:pt x="28575" y="13058"/>
                    <a:pt x="30480" y="13693"/>
                    <a:pt x="32385" y="13693"/>
                  </a:cubicBezTo>
                  <a:cubicBezTo>
                    <a:pt x="33020" y="13693"/>
                    <a:pt x="33655" y="13693"/>
                    <a:pt x="34290" y="14328"/>
                  </a:cubicBezTo>
                  <a:cubicBezTo>
                    <a:pt x="35560" y="14963"/>
                    <a:pt x="37465" y="14963"/>
                    <a:pt x="38735" y="15598"/>
                  </a:cubicBezTo>
                  <a:cubicBezTo>
                    <a:pt x="39370" y="15598"/>
                    <a:pt x="40005" y="16233"/>
                    <a:pt x="40640" y="16233"/>
                  </a:cubicBezTo>
                  <a:cubicBezTo>
                    <a:pt x="41910" y="16868"/>
                    <a:pt x="43815" y="17503"/>
                    <a:pt x="45085" y="18138"/>
                  </a:cubicBezTo>
                  <a:cubicBezTo>
                    <a:pt x="45720" y="18138"/>
                    <a:pt x="46355" y="18773"/>
                    <a:pt x="46990" y="18773"/>
                  </a:cubicBezTo>
                  <a:cubicBezTo>
                    <a:pt x="48895" y="20043"/>
                    <a:pt x="51435" y="20678"/>
                    <a:pt x="53975" y="21948"/>
                  </a:cubicBezTo>
                  <a:cubicBezTo>
                    <a:pt x="78105" y="35918"/>
                    <a:pt x="99695" y="62588"/>
                    <a:pt x="112395" y="91163"/>
                  </a:cubicBezTo>
                  <a:cubicBezTo>
                    <a:pt x="114935" y="92433"/>
                    <a:pt x="117475" y="93703"/>
                    <a:pt x="120015" y="94973"/>
                  </a:cubicBezTo>
                  <a:cubicBezTo>
                    <a:pt x="146050" y="110213"/>
                    <a:pt x="167640" y="143233"/>
                    <a:pt x="172720" y="174348"/>
                  </a:cubicBezTo>
                  <a:cubicBezTo>
                    <a:pt x="188595" y="190858"/>
                    <a:pt x="200025" y="214988"/>
                    <a:pt x="200025" y="235943"/>
                  </a:cubicBezTo>
                  <a:cubicBezTo>
                    <a:pt x="200025" y="237848"/>
                    <a:pt x="200025" y="239118"/>
                    <a:pt x="200025" y="241023"/>
                  </a:cubicBezTo>
                  <a:cubicBezTo>
                    <a:pt x="200025" y="241658"/>
                    <a:pt x="200025" y="241658"/>
                    <a:pt x="200025" y="242293"/>
                  </a:cubicBezTo>
                  <a:cubicBezTo>
                    <a:pt x="200025" y="243563"/>
                    <a:pt x="200025" y="244198"/>
                    <a:pt x="199390" y="245468"/>
                  </a:cubicBezTo>
                  <a:cubicBezTo>
                    <a:pt x="199390" y="246103"/>
                    <a:pt x="199390" y="246738"/>
                    <a:pt x="198755" y="246738"/>
                  </a:cubicBezTo>
                  <a:cubicBezTo>
                    <a:pt x="198755" y="247373"/>
                    <a:pt x="198120" y="248643"/>
                    <a:pt x="198120" y="249278"/>
                  </a:cubicBezTo>
                  <a:cubicBezTo>
                    <a:pt x="198120" y="249913"/>
                    <a:pt x="197485" y="250548"/>
                    <a:pt x="197485" y="250548"/>
                  </a:cubicBezTo>
                  <a:cubicBezTo>
                    <a:pt x="197485" y="251183"/>
                    <a:pt x="196850" y="251818"/>
                    <a:pt x="196850" y="252453"/>
                  </a:cubicBezTo>
                  <a:cubicBezTo>
                    <a:pt x="196850" y="253088"/>
                    <a:pt x="196215" y="253088"/>
                    <a:pt x="196215" y="253723"/>
                  </a:cubicBezTo>
                  <a:cubicBezTo>
                    <a:pt x="195580" y="254358"/>
                    <a:pt x="195580" y="254993"/>
                    <a:pt x="194945" y="255628"/>
                  </a:cubicBezTo>
                  <a:cubicBezTo>
                    <a:pt x="194945" y="256263"/>
                    <a:pt x="194310" y="256263"/>
                    <a:pt x="194310" y="256898"/>
                  </a:cubicBezTo>
                  <a:cubicBezTo>
                    <a:pt x="193675" y="257533"/>
                    <a:pt x="193675" y="258168"/>
                    <a:pt x="193040" y="258168"/>
                  </a:cubicBezTo>
                  <a:cubicBezTo>
                    <a:pt x="192405" y="258803"/>
                    <a:pt x="192405" y="258803"/>
                    <a:pt x="191770" y="259438"/>
                  </a:cubicBezTo>
                  <a:cubicBezTo>
                    <a:pt x="191135" y="260073"/>
                    <a:pt x="191135" y="260073"/>
                    <a:pt x="190500" y="260708"/>
                  </a:cubicBezTo>
                  <a:cubicBezTo>
                    <a:pt x="189865" y="261343"/>
                    <a:pt x="189865" y="261343"/>
                    <a:pt x="189230" y="261343"/>
                  </a:cubicBezTo>
                  <a:cubicBezTo>
                    <a:pt x="188595" y="261978"/>
                    <a:pt x="188595" y="261978"/>
                    <a:pt x="187960" y="262613"/>
                  </a:cubicBezTo>
                  <a:lnTo>
                    <a:pt x="203200" y="253723"/>
                  </a:lnTo>
                  <a:cubicBezTo>
                    <a:pt x="210820" y="249278"/>
                    <a:pt x="215900" y="239753"/>
                    <a:pt x="215900" y="226418"/>
                  </a:cubicBezTo>
                  <a:cubicBezTo>
                    <a:pt x="215265" y="205463"/>
                    <a:pt x="203835" y="181333"/>
                    <a:pt x="187960" y="165458"/>
                  </a:cubicBezTo>
                  <a:close/>
                </a:path>
              </a:pathLst>
            </a:custGeom>
            <a:solidFill>
              <a:srgbClr val="B2B5C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/>
            <p:cNvSpPr/>
            <p:nvPr/>
          </p:nvSpPr>
          <p:spPr>
            <a:xfrm flipH="1">
              <a:off x="3845391" y="1884363"/>
              <a:ext cx="273050" cy="254000"/>
            </a:xfrm>
            <a:custGeom>
              <a:avLst/>
              <a:gdLst>
                <a:gd name="connsiteX0" fmla="*/ 266064 w 273050"/>
                <a:gd name="connsiteY0" fmla="*/ 249555 h 254000"/>
                <a:gd name="connsiteX1" fmla="*/ 267335 w 273050"/>
                <a:gd name="connsiteY1" fmla="*/ 248285 h 254000"/>
                <a:gd name="connsiteX2" fmla="*/ 268605 w 273050"/>
                <a:gd name="connsiteY2" fmla="*/ 247015 h 254000"/>
                <a:gd name="connsiteX3" fmla="*/ 269239 w 273050"/>
                <a:gd name="connsiteY3" fmla="*/ 245745 h 254000"/>
                <a:gd name="connsiteX4" fmla="*/ 270510 w 273050"/>
                <a:gd name="connsiteY4" fmla="*/ 243840 h 254000"/>
                <a:gd name="connsiteX5" fmla="*/ 271145 w 273050"/>
                <a:gd name="connsiteY5" fmla="*/ 242570 h 254000"/>
                <a:gd name="connsiteX6" fmla="*/ 271780 w 273050"/>
                <a:gd name="connsiteY6" fmla="*/ 240665 h 254000"/>
                <a:gd name="connsiteX7" fmla="*/ 272414 w 273050"/>
                <a:gd name="connsiteY7" fmla="*/ 239395 h 254000"/>
                <a:gd name="connsiteX8" fmla="*/ 273050 w 273050"/>
                <a:gd name="connsiteY8" fmla="*/ 236855 h 254000"/>
                <a:gd name="connsiteX9" fmla="*/ 273685 w 273050"/>
                <a:gd name="connsiteY9" fmla="*/ 235585 h 254000"/>
                <a:gd name="connsiteX10" fmla="*/ 274320 w 273050"/>
                <a:gd name="connsiteY10" fmla="*/ 232410 h 254000"/>
                <a:gd name="connsiteX11" fmla="*/ 274320 w 273050"/>
                <a:gd name="connsiteY11" fmla="*/ 231140 h 254000"/>
                <a:gd name="connsiteX12" fmla="*/ 274320 w 273050"/>
                <a:gd name="connsiteY12" fmla="*/ 226060 h 254000"/>
                <a:gd name="connsiteX13" fmla="*/ 247014 w 273050"/>
                <a:gd name="connsiteY13" fmla="*/ 164465 h 254000"/>
                <a:gd name="connsiteX14" fmla="*/ 194310 w 273050"/>
                <a:gd name="connsiteY14" fmla="*/ 85090 h 254000"/>
                <a:gd name="connsiteX15" fmla="*/ 186689 w 273050"/>
                <a:gd name="connsiteY15" fmla="*/ 81280 h 254000"/>
                <a:gd name="connsiteX16" fmla="*/ 128270 w 273050"/>
                <a:gd name="connsiteY16" fmla="*/ 12065 h 254000"/>
                <a:gd name="connsiteX17" fmla="*/ 121285 w 273050"/>
                <a:gd name="connsiteY17" fmla="*/ 8890 h 254000"/>
                <a:gd name="connsiteX18" fmla="*/ 119380 w 273050"/>
                <a:gd name="connsiteY18" fmla="*/ 8255 h 254000"/>
                <a:gd name="connsiteX19" fmla="*/ 114935 w 273050"/>
                <a:gd name="connsiteY19" fmla="*/ 6350 h 254000"/>
                <a:gd name="connsiteX20" fmla="*/ 113030 w 273050"/>
                <a:gd name="connsiteY20" fmla="*/ 5715 h 254000"/>
                <a:gd name="connsiteX21" fmla="*/ 108585 w 273050"/>
                <a:gd name="connsiteY21" fmla="*/ 4445 h 254000"/>
                <a:gd name="connsiteX22" fmla="*/ 106680 w 273050"/>
                <a:gd name="connsiteY22" fmla="*/ 3810 h 254000"/>
                <a:gd name="connsiteX23" fmla="*/ 100964 w 273050"/>
                <a:gd name="connsiteY23" fmla="*/ 3175 h 254000"/>
                <a:gd name="connsiteX24" fmla="*/ 99695 w 273050"/>
                <a:gd name="connsiteY24" fmla="*/ 3175 h 254000"/>
                <a:gd name="connsiteX25" fmla="*/ 95250 w 273050"/>
                <a:gd name="connsiteY25" fmla="*/ 3175 h 254000"/>
                <a:gd name="connsiteX26" fmla="*/ 93345 w 273050"/>
                <a:gd name="connsiteY26" fmla="*/ 3175 h 254000"/>
                <a:gd name="connsiteX27" fmla="*/ 89535 w 273050"/>
                <a:gd name="connsiteY27" fmla="*/ 3810 h 254000"/>
                <a:gd name="connsiteX28" fmla="*/ 87630 w 273050"/>
                <a:gd name="connsiteY28" fmla="*/ 3810 h 254000"/>
                <a:gd name="connsiteX29" fmla="*/ 83185 w 273050"/>
                <a:gd name="connsiteY29" fmla="*/ 5080 h 254000"/>
                <a:gd name="connsiteX30" fmla="*/ 82550 w 273050"/>
                <a:gd name="connsiteY30" fmla="*/ 5080 h 254000"/>
                <a:gd name="connsiteX31" fmla="*/ 78105 w 273050"/>
                <a:gd name="connsiteY31" fmla="*/ 6985 h 254000"/>
                <a:gd name="connsiteX32" fmla="*/ 69214 w 273050"/>
                <a:gd name="connsiteY32" fmla="*/ 14605 h 254000"/>
                <a:gd name="connsiteX33" fmla="*/ 60960 w 273050"/>
                <a:gd name="connsiteY33" fmla="*/ 27940 h 254000"/>
                <a:gd name="connsiteX34" fmla="*/ 57150 w 273050"/>
                <a:gd name="connsiteY34" fmla="*/ 25400 h 254000"/>
                <a:gd name="connsiteX35" fmla="*/ 51435 w 273050"/>
                <a:gd name="connsiteY35" fmla="*/ 22225 h 254000"/>
                <a:gd name="connsiteX36" fmla="*/ 49530 w 273050"/>
                <a:gd name="connsiteY36" fmla="*/ 21590 h 254000"/>
                <a:gd name="connsiteX37" fmla="*/ 46355 w 273050"/>
                <a:gd name="connsiteY37" fmla="*/ 20320 h 254000"/>
                <a:gd name="connsiteX38" fmla="*/ 44450 w 273050"/>
                <a:gd name="connsiteY38" fmla="*/ 19685 h 254000"/>
                <a:gd name="connsiteX39" fmla="*/ 41275 w 273050"/>
                <a:gd name="connsiteY39" fmla="*/ 19050 h 254000"/>
                <a:gd name="connsiteX40" fmla="*/ 39370 w 273050"/>
                <a:gd name="connsiteY40" fmla="*/ 18415 h 254000"/>
                <a:gd name="connsiteX41" fmla="*/ 36195 w 273050"/>
                <a:gd name="connsiteY41" fmla="*/ 17780 h 254000"/>
                <a:gd name="connsiteX42" fmla="*/ 34289 w 273050"/>
                <a:gd name="connsiteY42" fmla="*/ 17780 h 254000"/>
                <a:gd name="connsiteX43" fmla="*/ 31750 w 273050"/>
                <a:gd name="connsiteY43" fmla="*/ 17780 h 254000"/>
                <a:gd name="connsiteX44" fmla="*/ 29845 w 273050"/>
                <a:gd name="connsiteY44" fmla="*/ 17780 h 254000"/>
                <a:gd name="connsiteX45" fmla="*/ 27305 w 273050"/>
                <a:gd name="connsiteY45" fmla="*/ 17780 h 254000"/>
                <a:gd name="connsiteX46" fmla="*/ 25400 w 273050"/>
                <a:gd name="connsiteY46" fmla="*/ 18415 h 254000"/>
                <a:gd name="connsiteX47" fmla="*/ 22860 w 273050"/>
                <a:gd name="connsiteY47" fmla="*/ 19050 h 254000"/>
                <a:gd name="connsiteX48" fmla="*/ 20955 w 273050"/>
                <a:gd name="connsiteY48" fmla="*/ 19685 h 254000"/>
                <a:gd name="connsiteX49" fmla="*/ 19050 w 273050"/>
                <a:gd name="connsiteY49" fmla="*/ 20955 h 254000"/>
                <a:gd name="connsiteX50" fmla="*/ 3175 w 273050"/>
                <a:gd name="connsiteY50" fmla="*/ 55880 h 254000"/>
                <a:gd name="connsiteX51" fmla="*/ 57150 w 273050"/>
                <a:gd name="connsiteY51" fmla="*/ 149225 h 254000"/>
                <a:gd name="connsiteX52" fmla="*/ 231775 w 273050"/>
                <a:gd name="connsiteY52" fmla="*/ 250190 h 254000"/>
                <a:gd name="connsiteX53" fmla="*/ 263525 w 273050"/>
                <a:gd name="connsiteY53" fmla="*/ 252095 h 254000"/>
                <a:gd name="connsiteX54" fmla="*/ 264795 w 273050"/>
                <a:gd name="connsiteY54" fmla="*/ 251460 h 254000"/>
                <a:gd name="connsiteX55" fmla="*/ 266064 w 273050"/>
                <a:gd name="connsiteY55" fmla="*/ 249555 h 25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73050" h="254000">
                  <a:moveTo>
                    <a:pt x="266064" y="249555"/>
                  </a:moveTo>
                  <a:cubicBezTo>
                    <a:pt x="266700" y="248920"/>
                    <a:pt x="266700" y="248920"/>
                    <a:pt x="267335" y="248285"/>
                  </a:cubicBezTo>
                  <a:cubicBezTo>
                    <a:pt x="267970" y="247650"/>
                    <a:pt x="267970" y="247015"/>
                    <a:pt x="268605" y="247015"/>
                  </a:cubicBezTo>
                  <a:cubicBezTo>
                    <a:pt x="268605" y="246380"/>
                    <a:pt x="269239" y="246380"/>
                    <a:pt x="269239" y="245745"/>
                  </a:cubicBezTo>
                  <a:cubicBezTo>
                    <a:pt x="269875" y="245110"/>
                    <a:pt x="269875" y="244475"/>
                    <a:pt x="270510" y="243840"/>
                  </a:cubicBezTo>
                  <a:cubicBezTo>
                    <a:pt x="270510" y="243205"/>
                    <a:pt x="271145" y="243205"/>
                    <a:pt x="271145" y="242570"/>
                  </a:cubicBezTo>
                  <a:cubicBezTo>
                    <a:pt x="271145" y="241935"/>
                    <a:pt x="271780" y="241300"/>
                    <a:pt x="271780" y="240665"/>
                  </a:cubicBezTo>
                  <a:cubicBezTo>
                    <a:pt x="271780" y="240030"/>
                    <a:pt x="272414" y="239395"/>
                    <a:pt x="272414" y="239395"/>
                  </a:cubicBezTo>
                  <a:cubicBezTo>
                    <a:pt x="272414" y="238760"/>
                    <a:pt x="273050" y="237490"/>
                    <a:pt x="273050" y="236855"/>
                  </a:cubicBezTo>
                  <a:cubicBezTo>
                    <a:pt x="273050" y="236220"/>
                    <a:pt x="273050" y="235585"/>
                    <a:pt x="273685" y="235585"/>
                  </a:cubicBezTo>
                  <a:cubicBezTo>
                    <a:pt x="273685" y="234315"/>
                    <a:pt x="274320" y="233680"/>
                    <a:pt x="274320" y="232410"/>
                  </a:cubicBezTo>
                  <a:cubicBezTo>
                    <a:pt x="274320" y="231775"/>
                    <a:pt x="274320" y="231775"/>
                    <a:pt x="274320" y="231140"/>
                  </a:cubicBezTo>
                  <a:cubicBezTo>
                    <a:pt x="274320" y="229870"/>
                    <a:pt x="274320" y="227965"/>
                    <a:pt x="274320" y="226060"/>
                  </a:cubicBezTo>
                  <a:cubicBezTo>
                    <a:pt x="274320" y="205105"/>
                    <a:pt x="262889" y="180975"/>
                    <a:pt x="247014" y="164465"/>
                  </a:cubicBezTo>
                  <a:cubicBezTo>
                    <a:pt x="241935" y="133350"/>
                    <a:pt x="220345" y="100330"/>
                    <a:pt x="194310" y="85090"/>
                  </a:cubicBezTo>
                  <a:cubicBezTo>
                    <a:pt x="191770" y="83820"/>
                    <a:pt x="189230" y="82550"/>
                    <a:pt x="186689" y="81280"/>
                  </a:cubicBezTo>
                  <a:cubicBezTo>
                    <a:pt x="173989" y="52705"/>
                    <a:pt x="152400" y="26035"/>
                    <a:pt x="128270" y="12065"/>
                  </a:cubicBezTo>
                  <a:cubicBezTo>
                    <a:pt x="125730" y="10795"/>
                    <a:pt x="123825" y="9525"/>
                    <a:pt x="121285" y="8890"/>
                  </a:cubicBezTo>
                  <a:cubicBezTo>
                    <a:pt x="120650" y="8255"/>
                    <a:pt x="120014" y="8255"/>
                    <a:pt x="119380" y="8255"/>
                  </a:cubicBezTo>
                  <a:cubicBezTo>
                    <a:pt x="118110" y="7620"/>
                    <a:pt x="116205" y="6985"/>
                    <a:pt x="114935" y="6350"/>
                  </a:cubicBezTo>
                  <a:cubicBezTo>
                    <a:pt x="114300" y="6350"/>
                    <a:pt x="113664" y="5715"/>
                    <a:pt x="113030" y="5715"/>
                  </a:cubicBezTo>
                  <a:cubicBezTo>
                    <a:pt x="111760" y="5080"/>
                    <a:pt x="109855" y="5080"/>
                    <a:pt x="108585" y="4445"/>
                  </a:cubicBezTo>
                  <a:cubicBezTo>
                    <a:pt x="107950" y="4445"/>
                    <a:pt x="107314" y="4445"/>
                    <a:pt x="106680" y="3810"/>
                  </a:cubicBezTo>
                  <a:cubicBezTo>
                    <a:pt x="104775" y="3175"/>
                    <a:pt x="102870" y="3175"/>
                    <a:pt x="100964" y="3175"/>
                  </a:cubicBezTo>
                  <a:cubicBezTo>
                    <a:pt x="100330" y="3175"/>
                    <a:pt x="100330" y="3175"/>
                    <a:pt x="99695" y="3175"/>
                  </a:cubicBezTo>
                  <a:cubicBezTo>
                    <a:pt x="98425" y="3175"/>
                    <a:pt x="96520" y="3175"/>
                    <a:pt x="95250" y="3175"/>
                  </a:cubicBezTo>
                  <a:cubicBezTo>
                    <a:pt x="94614" y="3175"/>
                    <a:pt x="93980" y="3175"/>
                    <a:pt x="93345" y="3175"/>
                  </a:cubicBezTo>
                  <a:cubicBezTo>
                    <a:pt x="92075" y="3175"/>
                    <a:pt x="90805" y="3175"/>
                    <a:pt x="89535" y="3810"/>
                  </a:cubicBezTo>
                  <a:cubicBezTo>
                    <a:pt x="88900" y="3810"/>
                    <a:pt x="88264" y="3810"/>
                    <a:pt x="87630" y="3810"/>
                  </a:cubicBezTo>
                  <a:cubicBezTo>
                    <a:pt x="86360" y="4445"/>
                    <a:pt x="84455" y="4445"/>
                    <a:pt x="83185" y="5080"/>
                  </a:cubicBezTo>
                  <a:cubicBezTo>
                    <a:pt x="83185" y="5080"/>
                    <a:pt x="82550" y="5080"/>
                    <a:pt x="82550" y="5080"/>
                  </a:cubicBezTo>
                  <a:cubicBezTo>
                    <a:pt x="80645" y="5715"/>
                    <a:pt x="79375" y="6350"/>
                    <a:pt x="78105" y="6985"/>
                  </a:cubicBezTo>
                  <a:cubicBezTo>
                    <a:pt x="74930" y="8890"/>
                    <a:pt x="71755" y="11430"/>
                    <a:pt x="69214" y="14605"/>
                  </a:cubicBezTo>
                  <a:cubicBezTo>
                    <a:pt x="66039" y="18415"/>
                    <a:pt x="63500" y="22860"/>
                    <a:pt x="60960" y="27940"/>
                  </a:cubicBezTo>
                  <a:cubicBezTo>
                    <a:pt x="59689" y="27305"/>
                    <a:pt x="58420" y="26035"/>
                    <a:pt x="57150" y="25400"/>
                  </a:cubicBezTo>
                  <a:cubicBezTo>
                    <a:pt x="55245" y="24130"/>
                    <a:pt x="53339" y="23495"/>
                    <a:pt x="51435" y="22225"/>
                  </a:cubicBezTo>
                  <a:cubicBezTo>
                    <a:pt x="50800" y="22225"/>
                    <a:pt x="50164" y="21590"/>
                    <a:pt x="49530" y="21590"/>
                  </a:cubicBezTo>
                  <a:cubicBezTo>
                    <a:pt x="48260" y="20955"/>
                    <a:pt x="46989" y="20320"/>
                    <a:pt x="46355" y="20320"/>
                  </a:cubicBezTo>
                  <a:cubicBezTo>
                    <a:pt x="45720" y="20320"/>
                    <a:pt x="45085" y="19685"/>
                    <a:pt x="44450" y="19685"/>
                  </a:cubicBezTo>
                  <a:cubicBezTo>
                    <a:pt x="43180" y="19685"/>
                    <a:pt x="42545" y="19050"/>
                    <a:pt x="41275" y="19050"/>
                  </a:cubicBezTo>
                  <a:cubicBezTo>
                    <a:pt x="40639" y="19050"/>
                    <a:pt x="40005" y="19050"/>
                    <a:pt x="39370" y="18415"/>
                  </a:cubicBezTo>
                  <a:cubicBezTo>
                    <a:pt x="38100" y="18415"/>
                    <a:pt x="37464" y="17780"/>
                    <a:pt x="36195" y="17780"/>
                  </a:cubicBezTo>
                  <a:cubicBezTo>
                    <a:pt x="35560" y="17780"/>
                    <a:pt x="34925" y="17780"/>
                    <a:pt x="34289" y="17780"/>
                  </a:cubicBezTo>
                  <a:cubicBezTo>
                    <a:pt x="33655" y="17780"/>
                    <a:pt x="32385" y="17780"/>
                    <a:pt x="31750" y="17780"/>
                  </a:cubicBezTo>
                  <a:cubicBezTo>
                    <a:pt x="31114" y="17780"/>
                    <a:pt x="30480" y="17780"/>
                    <a:pt x="29845" y="17780"/>
                  </a:cubicBezTo>
                  <a:cubicBezTo>
                    <a:pt x="29210" y="17780"/>
                    <a:pt x="27939" y="17780"/>
                    <a:pt x="27305" y="17780"/>
                  </a:cubicBezTo>
                  <a:cubicBezTo>
                    <a:pt x="26670" y="17780"/>
                    <a:pt x="26035" y="18415"/>
                    <a:pt x="25400" y="18415"/>
                  </a:cubicBezTo>
                  <a:cubicBezTo>
                    <a:pt x="24764" y="18415"/>
                    <a:pt x="24130" y="19050"/>
                    <a:pt x="22860" y="19050"/>
                  </a:cubicBezTo>
                  <a:cubicBezTo>
                    <a:pt x="22225" y="19050"/>
                    <a:pt x="21589" y="19685"/>
                    <a:pt x="20955" y="19685"/>
                  </a:cubicBezTo>
                  <a:cubicBezTo>
                    <a:pt x="20320" y="19685"/>
                    <a:pt x="19685" y="20320"/>
                    <a:pt x="19050" y="20955"/>
                  </a:cubicBezTo>
                  <a:cubicBezTo>
                    <a:pt x="9525" y="26670"/>
                    <a:pt x="3175" y="38735"/>
                    <a:pt x="3175" y="55880"/>
                  </a:cubicBezTo>
                  <a:cubicBezTo>
                    <a:pt x="3175" y="90170"/>
                    <a:pt x="27305" y="131445"/>
                    <a:pt x="57150" y="149225"/>
                  </a:cubicBezTo>
                  <a:lnTo>
                    <a:pt x="231775" y="250190"/>
                  </a:lnTo>
                  <a:cubicBezTo>
                    <a:pt x="244475" y="257175"/>
                    <a:pt x="255905" y="257810"/>
                    <a:pt x="263525" y="252095"/>
                  </a:cubicBezTo>
                  <a:cubicBezTo>
                    <a:pt x="264160" y="252095"/>
                    <a:pt x="264160" y="251460"/>
                    <a:pt x="264795" y="251460"/>
                  </a:cubicBezTo>
                  <a:cubicBezTo>
                    <a:pt x="265430" y="250825"/>
                    <a:pt x="265430" y="250190"/>
                    <a:pt x="266064" y="24955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69" name="组合 168"/>
          <p:cNvGrpSpPr/>
          <p:nvPr userDrawn="1"/>
        </p:nvGrpSpPr>
        <p:grpSpPr>
          <a:xfrm>
            <a:off x="7075150" y="988587"/>
            <a:ext cx="547370" cy="501044"/>
            <a:chOff x="7665233" y="1872587"/>
            <a:chExt cx="547370" cy="501044"/>
          </a:xfrm>
        </p:grpSpPr>
        <p:sp>
          <p:nvSpPr>
            <p:cNvPr id="147" name="任意多边形: 形状 146"/>
            <p:cNvSpPr/>
            <p:nvPr/>
          </p:nvSpPr>
          <p:spPr>
            <a:xfrm flipH="1">
              <a:off x="7665233" y="1872587"/>
              <a:ext cx="406400" cy="495300"/>
            </a:xfrm>
            <a:custGeom>
              <a:avLst/>
              <a:gdLst>
                <a:gd name="connsiteX0" fmla="*/ 352107 w 406400"/>
                <a:gd name="connsiteY0" fmla="*/ 309592 h 495300"/>
                <a:gd name="connsiteX1" fmla="*/ 253682 w 406400"/>
                <a:gd name="connsiteY1" fmla="*/ 160367 h 495300"/>
                <a:gd name="connsiteX2" fmla="*/ 239078 w 406400"/>
                <a:gd name="connsiteY2" fmla="*/ 153381 h 495300"/>
                <a:gd name="connsiteX3" fmla="*/ 129222 w 406400"/>
                <a:gd name="connsiteY3" fmla="*/ 23206 h 495300"/>
                <a:gd name="connsiteX4" fmla="*/ 33972 w 406400"/>
                <a:gd name="connsiteY4" fmla="*/ 13681 h 495300"/>
                <a:gd name="connsiteX5" fmla="*/ 4763 w 406400"/>
                <a:gd name="connsiteY5" fmla="*/ 30827 h 495300"/>
                <a:gd name="connsiteX6" fmla="*/ 5397 w 406400"/>
                <a:gd name="connsiteY6" fmla="*/ 30191 h 495300"/>
                <a:gd name="connsiteX7" fmla="*/ 14288 w 406400"/>
                <a:gd name="connsiteY7" fmla="*/ 26381 h 495300"/>
                <a:gd name="connsiteX8" fmla="*/ 15557 w 406400"/>
                <a:gd name="connsiteY8" fmla="*/ 25746 h 495300"/>
                <a:gd name="connsiteX9" fmla="*/ 23813 w 406400"/>
                <a:gd name="connsiteY9" fmla="*/ 23206 h 495300"/>
                <a:gd name="connsiteX10" fmla="*/ 26988 w 406400"/>
                <a:gd name="connsiteY10" fmla="*/ 22571 h 495300"/>
                <a:gd name="connsiteX11" fmla="*/ 33972 w 406400"/>
                <a:gd name="connsiteY11" fmla="*/ 21936 h 495300"/>
                <a:gd name="connsiteX12" fmla="*/ 37147 w 406400"/>
                <a:gd name="connsiteY12" fmla="*/ 21936 h 495300"/>
                <a:gd name="connsiteX13" fmla="*/ 45403 w 406400"/>
                <a:gd name="connsiteY13" fmla="*/ 21936 h 495300"/>
                <a:gd name="connsiteX14" fmla="*/ 47943 w 406400"/>
                <a:gd name="connsiteY14" fmla="*/ 21936 h 495300"/>
                <a:gd name="connsiteX15" fmla="*/ 59372 w 406400"/>
                <a:gd name="connsiteY15" fmla="*/ 23841 h 495300"/>
                <a:gd name="connsiteX16" fmla="*/ 62547 w 406400"/>
                <a:gd name="connsiteY16" fmla="*/ 24477 h 495300"/>
                <a:gd name="connsiteX17" fmla="*/ 71438 w 406400"/>
                <a:gd name="connsiteY17" fmla="*/ 27016 h 495300"/>
                <a:gd name="connsiteX18" fmla="*/ 75247 w 406400"/>
                <a:gd name="connsiteY18" fmla="*/ 28286 h 495300"/>
                <a:gd name="connsiteX19" fmla="*/ 84138 w 406400"/>
                <a:gd name="connsiteY19" fmla="*/ 31461 h 495300"/>
                <a:gd name="connsiteX20" fmla="*/ 87947 w 406400"/>
                <a:gd name="connsiteY20" fmla="*/ 33366 h 495300"/>
                <a:gd name="connsiteX21" fmla="*/ 100647 w 406400"/>
                <a:gd name="connsiteY21" fmla="*/ 39716 h 495300"/>
                <a:gd name="connsiteX22" fmla="*/ 210503 w 406400"/>
                <a:gd name="connsiteY22" fmla="*/ 169892 h 495300"/>
                <a:gd name="connsiteX23" fmla="*/ 225107 w 406400"/>
                <a:gd name="connsiteY23" fmla="*/ 176877 h 495300"/>
                <a:gd name="connsiteX24" fmla="*/ 323532 w 406400"/>
                <a:gd name="connsiteY24" fmla="*/ 326102 h 495300"/>
                <a:gd name="connsiteX25" fmla="*/ 374332 w 406400"/>
                <a:gd name="connsiteY25" fmla="*/ 441036 h 495300"/>
                <a:gd name="connsiteX26" fmla="*/ 373697 w 406400"/>
                <a:gd name="connsiteY26" fmla="*/ 449927 h 495300"/>
                <a:gd name="connsiteX27" fmla="*/ 373063 w 406400"/>
                <a:gd name="connsiteY27" fmla="*/ 452467 h 495300"/>
                <a:gd name="connsiteX28" fmla="*/ 372428 w 406400"/>
                <a:gd name="connsiteY28" fmla="*/ 458181 h 495300"/>
                <a:gd name="connsiteX29" fmla="*/ 371793 w 406400"/>
                <a:gd name="connsiteY29" fmla="*/ 461356 h 495300"/>
                <a:gd name="connsiteX30" fmla="*/ 370522 w 406400"/>
                <a:gd name="connsiteY30" fmla="*/ 465802 h 495300"/>
                <a:gd name="connsiteX31" fmla="*/ 369253 w 406400"/>
                <a:gd name="connsiteY31" fmla="*/ 468977 h 495300"/>
                <a:gd name="connsiteX32" fmla="*/ 367982 w 406400"/>
                <a:gd name="connsiteY32" fmla="*/ 472786 h 495300"/>
                <a:gd name="connsiteX33" fmla="*/ 366713 w 406400"/>
                <a:gd name="connsiteY33" fmla="*/ 475327 h 495300"/>
                <a:gd name="connsiteX34" fmla="*/ 364807 w 406400"/>
                <a:gd name="connsiteY34" fmla="*/ 478502 h 495300"/>
                <a:gd name="connsiteX35" fmla="*/ 362903 w 406400"/>
                <a:gd name="connsiteY35" fmla="*/ 481042 h 495300"/>
                <a:gd name="connsiteX36" fmla="*/ 360363 w 406400"/>
                <a:gd name="connsiteY36" fmla="*/ 484217 h 495300"/>
                <a:gd name="connsiteX37" fmla="*/ 358457 w 406400"/>
                <a:gd name="connsiteY37" fmla="*/ 486121 h 495300"/>
                <a:gd name="connsiteX38" fmla="*/ 355918 w 406400"/>
                <a:gd name="connsiteY38" fmla="*/ 488661 h 495300"/>
                <a:gd name="connsiteX39" fmla="*/ 353378 w 406400"/>
                <a:gd name="connsiteY39" fmla="*/ 490567 h 495300"/>
                <a:gd name="connsiteX40" fmla="*/ 350838 w 406400"/>
                <a:gd name="connsiteY40" fmla="*/ 492471 h 495300"/>
                <a:gd name="connsiteX41" fmla="*/ 380047 w 406400"/>
                <a:gd name="connsiteY41" fmla="*/ 475327 h 495300"/>
                <a:gd name="connsiteX42" fmla="*/ 403543 w 406400"/>
                <a:gd name="connsiteY42" fmla="*/ 423892 h 495300"/>
                <a:gd name="connsiteX43" fmla="*/ 352107 w 406400"/>
                <a:gd name="connsiteY43" fmla="*/ 309592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06400" h="495300">
                  <a:moveTo>
                    <a:pt x="352107" y="309592"/>
                  </a:moveTo>
                  <a:cubicBezTo>
                    <a:pt x="342582" y="251171"/>
                    <a:pt x="301943" y="188306"/>
                    <a:pt x="253682" y="160367"/>
                  </a:cubicBezTo>
                  <a:cubicBezTo>
                    <a:pt x="248603" y="157192"/>
                    <a:pt x="243522" y="155286"/>
                    <a:pt x="239078" y="153381"/>
                  </a:cubicBezTo>
                  <a:cubicBezTo>
                    <a:pt x="214947" y="99406"/>
                    <a:pt x="174943" y="49877"/>
                    <a:pt x="129222" y="23206"/>
                  </a:cubicBezTo>
                  <a:cubicBezTo>
                    <a:pt x="91757" y="1616"/>
                    <a:pt x="58103" y="-289"/>
                    <a:pt x="33972" y="13681"/>
                  </a:cubicBezTo>
                  <a:lnTo>
                    <a:pt x="4763" y="30827"/>
                  </a:lnTo>
                  <a:cubicBezTo>
                    <a:pt x="4763" y="30827"/>
                    <a:pt x="5397" y="30827"/>
                    <a:pt x="5397" y="30191"/>
                  </a:cubicBezTo>
                  <a:cubicBezTo>
                    <a:pt x="7938" y="28921"/>
                    <a:pt x="11113" y="27016"/>
                    <a:pt x="14288" y="26381"/>
                  </a:cubicBezTo>
                  <a:cubicBezTo>
                    <a:pt x="14922" y="26381"/>
                    <a:pt x="14922" y="26381"/>
                    <a:pt x="15557" y="25746"/>
                  </a:cubicBezTo>
                  <a:cubicBezTo>
                    <a:pt x="18097" y="25111"/>
                    <a:pt x="20638" y="23841"/>
                    <a:pt x="23813" y="23206"/>
                  </a:cubicBezTo>
                  <a:cubicBezTo>
                    <a:pt x="25082" y="23206"/>
                    <a:pt x="25718" y="22571"/>
                    <a:pt x="26988" y="22571"/>
                  </a:cubicBezTo>
                  <a:cubicBezTo>
                    <a:pt x="29528" y="21936"/>
                    <a:pt x="31432" y="21936"/>
                    <a:pt x="33972" y="21936"/>
                  </a:cubicBezTo>
                  <a:cubicBezTo>
                    <a:pt x="35243" y="21936"/>
                    <a:pt x="36513" y="21936"/>
                    <a:pt x="37147" y="21936"/>
                  </a:cubicBezTo>
                  <a:cubicBezTo>
                    <a:pt x="39688" y="21936"/>
                    <a:pt x="42863" y="21936"/>
                    <a:pt x="45403" y="21936"/>
                  </a:cubicBezTo>
                  <a:cubicBezTo>
                    <a:pt x="46038" y="21936"/>
                    <a:pt x="46672" y="21936"/>
                    <a:pt x="47943" y="21936"/>
                  </a:cubicBezTo>
                  <a:cubicBezTo>
                    <a:pt x="51753" y="22571"/>
                    <a:pt x="55563" y="22571"/>
                    <a:pt x="59372" y="23841"/>
                  </a:cubicBezTo>
                  <a:cubicBezTo>
                    <a:pt x="60643" y="23841"/>
                    <a:pt x="61278" y="24477"/>
                    <a:pt x="62547" y="24477"/>
                  </a:cubicBezTo>
                  <a:cubicBezTo>
                    <a:pt x="65722" y="25111"/>
                    <a:pt x="68263" y="25746"/>
                    <a:pt x="71438" y="27016"/>
                  </a:cubicBezTo>
                  <a:cubicBezTo>
                    <a:pt x="72707" y="27652"/>
                    <a:pt x="73978" y="27652"/>
                    <a:pt x="75247" y="28286"/>
                  </a:cubicBezTo>
                  <a:cubicBezTo>
                    <a:pt x="77788" y="29556"/>
                    <a:pt x="80963" y="30191"/>
                    <a:pt x="84138" y="31461"/>
                  </a:cubicBezTo>
                  <a:cubicBezTo>
                    <a:pt x="85407" y="32096"/>
                    <a:pt x="86678" y="32731"/>
                    <a:pt x="87947" y="33366"/>
                  </a:cubicBezTo>
                  <a:cubicBezTo>
                    <a:pt x="92393" y="35271"/>
                    <a:pt x="96203" y="37177"/>
                    <a:pt x="100647" y="39716"/>
                  </a:cubicBezTo>
                  <a:cubicBezTo>
                    <a:pt x="146368" y="65752"/>
                    <a:pt x="186372" y="115281"/>
                    <a:pt x="210503" y="169892"/>
                  </a:cubicBezTo>
                  <a:cubicBezTo>
                    <a:pt x="215582" y="171796"/>
                    <a:pt x="220028" y="174336"/>
                    <a:pt x="225107" y="176877"/>
                  </a:cubicBezTo>
                  <a:cubicBezTo>
                    <a:pt x="274003" y="204817"/>
                    <a:pt x="314007" y="267681"/>
                    <a:pt x="323532" y="326102"/>
                  </a:cubicBezTo>
                  <a:cubicBezTo>
                    <a:pt x="353378" y="356581"/>
                    <a:pt x="374332" y="402302"/>
                    <a:pt x="374332" y="441036"/>
                  </a:cubicBezTo>
                  <a:cubicBezTo>
                    <a:pt x="374332" y="444211"/>
                    <a:pt x="374332" y="447386"/>
                    <a:pt x="373697" y="449927"/>
                  </a:cubicBezTo>
                  <a:cubicBezTo>
                    <a:pt x="373697" y="450561"/>
                    <a:pt x="373697" y="451831"/>
                    <a:pt x="373063" y="452467"/>
                  </a:cubicBezTo>
                  <a:cubicBezTo>
                    <a:pt x="373063" y="454371"/>
                    <a:pt x="372428" y="456277"/>
                    <a:pt x="372428" y="458181"/>
                  </a:cubicBezTo>
                  <a:cubicBezTo>
                    <a:pt x="372428" y="459452"/>
                    <a:pt x="371793" y="460086"/>
                    <a:pt x="371793" y="461356"/>
                  </a:cubicBezTo>
                  <a:cubicBezTo>
                    <a:pt x="371157" y="463261"/>
                    <a:pt x="371157" y="464531"/>
                    <a:pt x="370522" y="465802"/>
                  </a:cubicBezTo>
                  <a:cubicBezTo>
                    <a:pt x="369888" y="467071"/>
                    <a:pt x="369888" y="467706"/>
                    <a:pt x="369253" y="468977"/>
                  </a:cubicBezTo>
                  <a:cubicBezTo>
                    <a:pt x="368618" y="470246"/>
                    <a:pt x="367982" y="471517"/>
                    <a:pt x="367982" y="472786"/>
                  </a:cubicBezTo>
                  <a:cubicBezTo>
                    <a:pt x="367347" y="473421"/>
                    <a:pt x="366713" y="474692"/>
                    <a:pt x="366713" y="475327"/>
                  </a:cubicBezTo>
                  <a:cubicBezTo>
                    <a:pt x="366078" y="476596"/>
                    <a:pt x="365443" y="477867"/>
                    <a:pt x="364807" y="478502"/>
                  </a:cubicBezTo>
                  <a:cubicBezTo>
                    <a:pt x="364172" y="479136"/>
                    <a:pt x="363538" y="479771"/>
                    <a:pt x="362903" y="481042"/>
                  </a:cubicBezTo>
                  <a:cubicBezTo>
                    <a:pt x="362268" y="482311"/>
                    <a:pt x="361632" y="482946"/>
                    <a:pt x="360363" y="484217"/>
                  </a:cubicBezTo>
                  <a:cubicBezTo>
                    <a:pt x="359728" y="484852"/>
                    <a:pt x="359093" y="485486"/>
                    <a:pt x="358457" y="486121"/>
                  </a:cubicBezTo>
                  <a:cubicBezTo>
                    <a:pt x="357822" y="486756"/>
                    <a:pt x="356553" y="488027"/>
                    <a:pt x="355918" y="488661"/>
                  </a:cubicBezTo>
                  <a:cubicBezTo>
                    <a:pt x="355282" y="489296"/>
                    <a:pt x="354647" y="489931"/>
                    <a:pt x="353378" y="490567"/>
                  </a:cubicBezTo>
                  <a:cubicBezTo>
                    <a:pt x="352743" y="491202"/>
                    <a:pt x="351472" y="491836"/>
                    <a:pt x="350838" y="492471"/>
                  </a:cubicBezTo>
                  <a:lnTo>
                    <a:pt x="380047" y="475327"/>
                  </a:lnTo>
                  <a:cubicBezTo>
                    <a:pt x="394653" y="467071"/>
                    <a:pt x="403543" y="449292"/>
                    <a:pt x="403543" y="423892"/>
                  </a:cubicBezTo>
                  <a:cubicBezTo>
                    <a:pt x="402907" y="385792"/>
                    <a:pt x="381953" y="340706"/>
                    <a:pt x="352107" y="309592"/>
                  </a:cubicBezTo>
                  <a:close/>
                </a:path>
              </a:pathLst>
            </a:custGeom>
            <a:solidFill>
              <a:srgbClr val="B2B5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/>
            <p:cNvSpPr/>
            <p:nvPr/>
          </p:nvSpPr>
          <p:spPr>
            <a:xfrm flipH="1">
              <a:off x="7698253" y="1891031"/>
              <a:ext cx="514350" cy="482600"/>
            </a:xfrm>
            <a:custGeom>
              <a:avLst/>
              <a:gdLst>
                <a:gd name="connsiteX0" fmla="*/ 498792 w 514350"/>
                <a:gd name="connsiteY0" fmla="*/ 468948 h 482600"/>
                <a:gd name="connsiteX1" fmla="*/ 500697 w 514350"/>
                <a:gd name="connsiteY1" fmla="*/ 467042 h 482600"/>
                <a:gd name="connsiteX2" fmla="*/ 503238 w 514350"/>
                <a:gd name="connsiteY2" fmla="*/ 463867 h 482600"/>
                <a:gd name="connsiteX3" fmla="*/ 505142 w 514350"/>
                <a:gd name="connsiteY3" fmla="*/ 461327 h 482600"/>
                <a:gd name="connsiteX4" fmla="*/ 507047 w 514350"/>
                <a:gd name="connsiteY4" fmla="*/ 458152 h 482600"/>
                <a:gd name="connsiteX5" fmla="*/ 508317 w 514350"/>
                <a:gd name="connsiteY5" fmla="*/ 455613 h 482600"/>
                <a:gd name="connsiteX6" fmla="*/ 509588 w 514350"/>
                <a:gd name="connsiteY6" fmla="*/ 451802 h 482600"/>
                <a:gd name="connsiteX7" fmla="*/ 510857 w 514350"/>
                <a:gd name="connsiteY7" fmla="*/ 448627 h 482600"/>
                <a:gd name="connsiteX8" fmla="*/ 512127 w 514350"/>
                <a:gd name="connsiteY8" fmla="*/ 444183 h 482600"/>
                <a:gd name="connsiteX9" fmla="*/ 512763 w 514350"/>
                <a:gd name="connsiteY9" fmla="*/ 441008 h 482600"/>
                <a:gd name="connsiteX10" fmla="*/ 513397 w 514350"/>
                <a:gd name="connsiteY10" fmla="*/ 435292 h 482600"/>
                <a:gd name="connsiteX11" fmla="*/ 514032 w 514350"/>
                <a:gd name="connsiteY11" fmla="*/ 432752 h 482600"/>
                <a:gd name="connsiteX12" fmla="*/ 514667 w 514350"/>
                <a:gd name="connsiteY12" fmla="*/ 423863 h 482600"/>
                <a:gd name="connsiteX13" fmla="*/ 463867 w 514350"/>
                <a:gd name="connsiteY13" fmla="*/ 308927 h 482600"/>
                <a:gd name="connsiteX14" fmla="*/ 365442 w 514350"/>
                <a:gd name="connsiteY14" fmla="*/ 159702 h 482600"/>
                <a:gd name="connsiteX15" fmla="*/ 350838 w 514350"/>
                <a:gd name="connsiteY15" fmla="*/ 152717 h 482600"/>
                <a:gd name="connsiteX16" fmla="*/ 240982 w 514350"/>
                <a:gd name="connsiteY16" fmla="*/ 22542 h 482600"/>
                <a:gd name="connsiteX17" fmla="*/ 228282 w 514350"/>
                <a:gd name="connsiteY17" fmla="*/ 16192 h 482600"/>
                <a:gd name="connsiteX18" fmla="*/ 224472 w 514350"/>
                <a:gd name="connsiteY18" fmla="*/ 14288 h 482600"/>
                <a:gd name="connsiteX19" fmla="*/ 215582 w 514350"/>
                <a:gd name="connsiteY19" fmla="*/ 11113 h 482600"/>
                <a:gd name="connsiteX20" fmla="*/ 211772 w 514350"/>
                <a:gd name="connsiteY20" fmla="*/ 9842 h 482600"/>
                <a:gd name="connsiteX21" fmla="*/ 202882 w 514350"/>
                <a:gd name="connsiteY21" fmla="*/ 7302 h 482600"/>
                <a:gd name="connsiteX22" fmla="*/ 199707 w 514350"/>
                <a:gd name="connsiteY22" fmla="*/ 6667 h 482600"/>
                <a:gd name="connsiteX23" fmla="*/ 188277 w 514350"/>
                <a:gd name="connsiteY23" fmla="*/ 4763 h 482600"/>
                <a:gd name="connsiteX24" fmla="*/ 185738 w 514350"/>
                <a:gd name="connsiteY24" fmla="*/ 4763 h 482600"/>
                <a:gd name="connsiteX25" fmla="*/ 177482 w 514350"/>
                <a:gd name="connsiteY25" fmla="*/ 4763 h 482600"/>
                <a:gd name="connsiteX26" fmla="*/ 174307 w 514350"/>
                <a:gd name="connsiteY26" fmla="*/ 4763 h 482600"/>
                <a:gd name="connsiteX27" fmla="*/ 167322 w 514350"/>
                <a:gd name="connsiteY27" fmla="*/ 5398 h 482600"/>
                <a:gd name="connsiteX28" fmla="*/ 164147 w 514350"/>
                <a:gd name="connsiteY28" fmla="*/ 6033 h 482600"/>
                <a:gd name="connsiteX29" fmla="*/ 155892 w 514350"/>
                <a:gd name="connsiteY29" fmla="*/ 8573 h 482600"/>
                <a:gd name="connsiteX30" fmla="*/ 154622 w 514350"/>
                <a:gd name="connsiteY30" fmla="*/ 9208 h 482600"/>
                <a:gd name="connsiteX31" fmla="*/ 145732 w 514350"/>
                <a:gd name="connsiteY31" fmla="*/ 13017 h 482600"/>
                <a:gd name="connsiteX32" fmla="*/ 128588 w 514350"/>
                <a:gd name="connsiteY32" fmla="*/ 26988 h 482600"/>
                <a:gd name="connsiteX33" fmla="*/ 113982 w 514350"/>
                <a:gd name="connsiteY33" fmla="*/ 52388 h 482600"/>
                <a:gd name="connsiteX34" fmla="*/ 106363 w 514350"/>
                <a:gd name="connsiteY34" fmla="*/ 47308 h 482600"/>
                <a:gd name="connsiteX35" fmla="*/ 96202 w 514350"/>
                <a:gd name="connsiteY35" fmla="*/ 42227 h 482600"/>
                <a:gd name="connsiteX36" fmla="*/ 92392 w 514350"/>
                <a:gd name="connsiteY36" fmla="*/ 40958 h 482600"/>
                <a:gd name="connsiteX37" fmla="*/ 86042 w 514350"/>
                <a:gd name="connsiteY37" fmla="*/ 38417 h 482600"/>
                <a:gd name="connsiteX38" fmla="*/ 82232 w 514350"/>
                <a:gd name="connsiteY38" fmla="*/ 37148 h 482600"/>
                <a:gd name="connsiteX39" fmla="*/ 76517 w 514350"/>
                <a:gd name="connsiteY39" fmla="*/ 35242 h 482600"/>
                <a:gd name="connsiteX40" fmla="*/ 72707 w 514350"/>
                <a:gd name="connsiteY40" fmla="*/ 34608 h 482600"/>
                <a:gd name="connsiteX41" fmla="*/ 66992 w 514350"/>
                <a:gd name="connsiteY41" fmla="*/ 33973 h 482600"/>
                <a:gd name="connsiteX42" fmla="*/ 63182 w 514350"/>
                <a:gd name="connsiteY42" fmla="*/ 33973 h 482600"/>
                <a:gd name="connsiteX43" fmla="*/ 58102 w 514350"/>
                <a:gd name="connsiteY43" fmla="*/ 33973 h 482600"/>
                <a:gd name="connsiteX44" fmla="*/ 54292 w 514350"/>
                <a:gd name="connsiteY44" fmla="*/ 34608 h 482600"/>
                <a:gd name="connsiteX45" fmla="*/ 49847 w 514350"/>
                <a:gd name="connsiteY45" fmla="*/ 35242 h 482600"/>
                <a:gd name="connsiteX46" fmla="*/ 46038 w 514350"/>
                <a:gd name="connsiteY46" fmla="*/ 36513 h 482600"/>
                <a:gd name="connsiteX47" fmla="*/ 41592 w 514350"/>
                <a:gd name="connsiteY47" fmla="*/ 37783 h 482600"/>
                <a:gd name="connsiteX48" fmla="*/ 38417 w 514350"/>
                <a:gd name="connsiteY48" fmla="*/ 39052 h 482600"/>
                <a:gd name="connsiteX49" fmla="*/ 34607 w 514350"/>
                <a:gd name="connsiteY49" fmla="*/ 40958 h 482600"/>
                <a:gd name="connsiteX50" fmla="*/ 4763 w 514350"/>
                <a:gd name="connsiteY50" fmla="*/ 105727 h 482600"/>
                <a:gd name="connsiteX51" fmla="*/ 105727 w 514350"/>
                <a:gd name="connsiteY51" fmla="*/ 280352 h 482600"/>
                <a:gd name="connsiteX52" fmla="*/ 434657 w 514350"/>
                <a:gd name="connsiteY52" fmla="*/ 470217 h 482600"/>
                <a:gd name="connsiteX53" fmla="*/ 494347 w 514350"/>
                <a:gd name="connsiteY53" fmla="*/ 474027 h 482600"/>
                <a:gd name="connsiteX54" fmla="*/ 496888 w 514350"/>
                <a:gd name="connsiteY54" fmla="*/ 472123 h 482600"/>
                <a:gd name="connsiteX55" fmla="*/ 498792 w 514350"/>
                <a:gd name="connsiteY55" fmla="*/ 468948 h 48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514350" h="482600">
                  <a:moveTo>
                    <a:pt x="498792" y="468948"/>
                  </a:moveTo>
                  <a:cubicBezTo>
                    <a:pt x="499427" y="468313"/>
                    <a:pt x="500063" y="467677"/>
                    <a:pt x="500697" y="467042"/>
                  </a:cubicBezTo>
                  <a:cubicBezTo>
                    <a:pt x="501332" y="466408"/>
                    <a:pt x="501967" y="465138"/>
                    <a:pt x="503238" y="463867"/>
                  </a:cubicBezTo>
                  <a:cubicBezTo>
                    <a:pt x="503872" y="463233"/>
                    <a:pt x="504507" y="462598"/>
                    <a:pt x="505142" y="461327"/>
                  </a:cubicBezTo>
                  <a:cubicBezTo>
                    <a:pt x="505777" y="460058"/>
                    <a:pt x="506413" y="458788"/>
                    <a:pt x="507047" y="458152"/>
                  </a:cubicBezTo>
                  <a:cubicBezTo>
                    <a:pt x="507682" y="457517"/>
                    <a:pt x="508317" y="456248"/>
                    <a:pt x="508317" y="455613"/>
                  </a:cubicBezTo>
                  <a:cubicBezTo>
                    <a:pt x="508952" y="454342"/>
                    <a:pt x="509588" y="453073"/>
                    <a:pt x="509588" y="451802"/>
                  </a:cubicBezTo>
                  <a:cubicBezTo>
                    <a:pt x="510222" y="450533"/>
                    <a:pt x="510222" y="449898"/>
                    <a:pt x="510857" y="448627"/>
                  </a:cubicBezTo>
                  <a:cubicBezTo>
                    <a:pt x="511492" y="447358"/>
                    <a:pt x="511492" y="445452"/>
                    <a:pt x="512127" y="444183"/>
                  </a:cubicBezTo>
                  <a:cubicBezTo>
                    <a:pt x="512127" y="442913"/>
                    <a:pt x="512763" y="442277"/>
                    <a:pt x="512763" y="441008"/>
                  </a:cubicBezTo>
                  <a:cubicBezTo>
                    <a:pt x="513397" y="439102"/>
                    <a:pt x="513397" y="437198"/>
                    <a:pt x="513397" y="435292"/>
                  </a:cubicBezTo>
                  <a:cubicBezTo>
                    <a:pt x="513397" y="434658"/>
                    <a:pt x="513397" y="433388"/>
                    <a:pt x="514032" y="432752"/>
                  </a:cubicBezTo>
                  <a:cubicBezTo>
                    <a:pt x="514032" y="429577"/>
                    <a:pt x="514667" y="427038"/>
                    <a:pt x="514667" y="423863"/>
                  </a:cubicBezTo>
                  <a:cubicBezTo>
                    <a:pt x="514667" y="385127"/>
                    <a:pt x="493713" y="339408"/>
                    <a:pt x="463867" y="308927"/>
                  </a:cubicBezTo>
                  <a:cubicBezTo>
                    <a:pt x="454342" y="250508"/>
                    <a:pt x="413702" y="187642"/>
                    <a:pt x="365442" y="159702"/>
                  </a:cubicBezTo>
                  <a:cubicBezTo>
                    <a:pt x="360363" y="156527"/>
                    <a:pt x="355282" y="154623"/>
                    <a:pt x="350838" y="152717"/>
                  </a:cubicBezTo>
                  <a:cubicBezTo>
                    <a:pt x="326707" y="98742"/>
                    <a:pt x="286702" y="49213"/>
                    <a:pt x="240982" y="22542"/>
                  </a:cubicBezTo>
                  <a:cubicBezTo>
                    <a:pt x="236538" y="20002"/>
                    <a:pt x="232727" y="18098"/>
                    <a:pt x="228282" y="16192"/>
                  </a:cubicBezTo>
                  <a:cubicBezTo>
                    <a:pt x="227013" y="15558"/>
                    <a:pt x="225742" y="14923"/>
                    <a:pt x="224472" y="14288"/>
                  </a:cubicBezTo>
                  <a:cubicBezTo>
                    <a:pt x="221297" y="13017"/>
                    <a:pt x="218757" y="11748"/>
                    <a:pt x="215582" y="11113"/>
                  </a:cubicBezTo>
                  <a:cubicBezTo>
                    <a:pt x="214313" y="10477"/>
                    <a:pt x="213042" y="9842"/>
                    <a:pt x="211772" y="9842"/>
                  </a:cubicBezTo>
                  <a:cubicBezTo>
                    <a:pt x="208597" y="8573"/>
                    <a:pt x="206057" y="7938"/>
                    <a:pt x="202882" y="7302"/>
                  </a:cubicBezTo>
                  <a:cubicBezTo>
                    <a:pt x="201613" y="7302"/>
                    <a:pt x="200977" y="6667"/>
                    <a:pt x="199707" y="6667"/>
                  </a:cubicBezTo>
                  <a:cubicBezTo>
                    <a:pt x="195897" y="6033"/>
                    <a:pt x="192088" y="5398"/>
                    <a:pt x="188277" y="4763"/>
                  </a:cubicBezTo>
                  <a:cubicBezTo>
                    <a:pt x="187642" y="4763"/>
                    <a:pt x="187007" y="4763"/>
                    <a:pt x="185738" y="4763"/>
                  </a:cubicBezTo>
                  <a:cubicBezTo>
                    <a:pt x="182563" y="4763"/>
                    <a:pt x="180022" y="4763"/>
                    <a:pt x="177482" y="4763"/>
                  </a:cubicBezTo>
                  <a:cubicBezTo>
                    <a:pt x="176213" y="4763"/>
                    <a:pt x="174942" y="4763"/>
                    <a:pt x="174307" y="4763"/>
                  </a:cubicBezTo>
                  <a:cubicBezTo>
                    <a:pt x="171767" y="4763"/>
                    <a:pt x="169227" y="5398"/>
                    <a:pt x="167322" y="5398"/>
                  </a:cubicBezTo>
                  <a:cubicBezTo>
                    <a:pt x="166052" y="5398"/>
                    <a:pt x="165417" y="6033"/>
                    <a:pt x="164147" y="6033"/>
                  </a:cubicBezTo>
                  <a:cubicBezTo>
                    <a:pt x="161607" y="6667"/>
                    <a:pt x="158432" y="7302"/>
                    <a:pt x="155892" y="8573"/>
                  </a:cubicBezTo>
                  <a:cubicBezTo>
                    <a:pt x="155257" y="8573"/>
                    <a:pt x="155257" y="8573"/>
                    <a:pt x="154622" y="9208"/>
                  </a:cubicBezTo>
                  <a:cubicBezTo>
                    <a:pt x="151447" y="10477"/>
                    <a:pt x="148907" y="11748"/>
                    <a:pt x="145732" y="13017"/>
                  </a:cubicBezTo>
                  <a:cubicBezTo>
                    <a:pt x="139382" y="16827"/>
                    <a:pt x="133667" y="21273"/>
                    <a:pt x="128588" y="26988"/>
                  </a:cubicBezTo>
                  <a:cubicBezTo>
                    <a:pt x="122238" y="33973"/>
                    <a:pt x="117157" y="42227"/>
                    <a:pt x="113982" y="52388"/>
                  </a:cubicBezTo>
                  <a:cubicBezTo>
                    <a:pt x="111442" y="50483"/>
                    <a:pt x="108902" y="49213"/>
                    <a:pt x="106363" y="47308"/>
                  </a:cubicBezTo>
                  <a:cubicBezTo>
                    <a:pt x="102552" y="45402"/>
                    <a:pt x="99377" y="43498"/>
                    <a:pt x="96202" y="42227"/>
                  </a:cubicBezTo>
                  <a:cubicBezTo>
                    <a:pt x="94932" y="41592"/>
                    <a:pt x="93663" y="41592"/>
                    <a:pt x="92392" y="40958"/>
                  </a:cubicBezTo>
                  <a:cubicBezTo>
                    <a:pt x="90488" y="40323"/>
                    <a:pt x="87947" y="39052"/>
                    <a:pt x="86042" y="38417"/>
                  </a:cubicBezTo>
                  <a:cubicBezTo>
                    <a:pt x="84772" y="37783"/>
                    <a:pt x="83502" y="37783"/>
                    <a:pt x="82232" y="37148"/>
                  </a:cubicBezTo>
                  <a:cubicBezTo>
                    <a:pt x="80327" y="36513"/>
                    <a:pt x="78422" y="35877"/>
                    <a:pt x="76517" y="35242"/>
                  </a:cubicBezTo>
                  <a:cubicBezTo>
                    <a:pt x="75247" y="35242"/>
                    <a:pt x="73977" y="34608"/>
                    <a:pt x="72707" y="34608"/>
                  </a:cubicBezTo>
                  <a:cubicBezTo>
                    <a:pt x="70802" y="34608"/>
                    <a:pt x="68897" y="33973"/>
                    <a:pt x="66992" y="33973"/>
                  </a:cubicBezTo>
                  <a:cubicBezTo>
                    <a:pt x="65722" y="33973"/>
                    <a:pt x="64452" y="33973"/>
                    <a:pt x="63182" y="33973"/>
                  </a:cubicBezTo>
                  <a:cubicBezTo>
                    <a:pt x="61277" y="33973"/>
                    <a:pt x="60007" y="33973"/>
                    <a:pt x="58102" y="33973"/>
                  </a:cubicBezTo>
                  <a:cubicBezTo>
                    <a:pt x="56832" y="33973"/>
                    <a:pt x="55563" y="33973"/>
                    <a:pt x="54292" y="34608"/>
                  </a:cubicBezTo>
                  <a:cubicBezTo>
                    <a:pt x="53022" y="34608"/>
                    <a:pt x="51117" y="34608"/>
                    <a:pt x="49847" y="35242"/>
                  </a:cubicBezTo>
                  <a:cubicBezTo>
                    <a:pt x="48577" y="35242"/>
                    <a:pt x="47307" y="35877"/>
                    <a:pt x="46038" y="36513"/>
                  </a:cubicBezTo>
                  <a:cubicBezTo>
                    <a:pt x="44767" y="37148"/>
                    <a:pt x="43497" y="37148"/>
                    <a:pt x="41592" y="37783"/>
                  </a:cubicBezTo>
                  <a:cubicBezTo>
                    <a:pt x="40322" y="38417"/>
                    <a:pt x="39052" y="39052"/>
                    <a:pt x="38417" y="39052"/>
                  </a:cubicBezTo>
                  <a:cubicBezTo>
                    <a:pt x="37147" y="39688"/>
                    <a:pt x="35877" y="40323"/>
                    <a:pt x="34607" y="40958"/>
                  </a:cubicBezTo>
                  <a:cubicBezTo>
                    <a:pt x="16192" y="51752"/>
                    <a:pt x="4763" y="73977"/>
                    <a:pt x="4763" y="105727"/>
                  </a:cubicBezTo>
                  <a:cubicBezTo>
                    <a:pt x="4763" y="169863"/>
                    <a:pt x="49847" y="247967"/>
                    <a:pt x="105727" y="280352"/>
                  </a:cubicBezTo>
                  <a:lnTo>
                    <a:pt x="434657" y="470217"/>
                  </a:lnTo>
                  <a:cubicBezTo>
                    <a:pt x="458152" y="484188"/>
                    <a:pt x="479742" y="484188"/>
                    <a:pt x="494347" y="474027"/>
                  </a:cubicBezTo>
                  <a:cubicBezTo>
                    <a:pt x="494982" y="473392"/>
                    <a:pt x="496252" y="472758"/>
                    <a:pt x="496888" y="472123"/>
                  </a:cubicBezTo>
                  <a:cubicBezTo>
                    <a:pt x="496888" y="470852"/>
                    <a:pt x="497522" y="469583"/>
                    <a:pt x="498792" y="46894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76" name="组合 175"/>
          <p:cNvGrpSpPr/>
          <p:nvPr userDrawn="1"/>
        </p:nvGrpSpPr>
        <p:grpSpPr>
          <a:xfrm>
            <a:off x="2764650" y="5209976"/>
            <a:ext cx="4496060" cy="750925"/>
            <a:chOff x="2764650" y="5209976"/>
            <a:chExt cx="4496060" cy="750925"/>
          </a:xfrm>
        </p:grpSpPr>
        <p:sp>
          <p:nvSpPr>
            <p:cNvPr id="151" name="任意多边形: 形状 150"/>
            <p:cNvSpPr/>
            <p:nvPr/>
          </p:nvSpPr>
          <p:spPr>
            <a:xfrm flipH="1">
              <a:off x="6936860" y="5760680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3 w 323850"/>
                <a:gd name="connsiteY1" fmla="*/ 161766 h 190500"/>
                <a:gd name="connsiteX2" fmla="*/ 50323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8" y="197961"/>
                    <a:pt x="113188" y="197961"/>
                    <a:pt x="50323" y="161766"/>
                  </a:cubicBezTo>
                  <a:cubicBezTo>
                    <a:pt x="-12541" y="125571"/>
                    <a:pt x="-12541" y="66516"/>
                    <a:pt x="50323" y="30321"/>
                  </a:cubicBezTo>
                  <a:cubicBezTo>
                    <a:pt x="113188" y="-5874"/>
                    <a:pt x="214788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/>
            <p:cNvSpPr/>
            <p:nvPr/>
          </p:nvSpPr>
          <p:spPr>
            <a:xfrm flipH="1">
              <a:off x="6993216" y="5209976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/>
            <p:cNvSpPr/>
            <p:nvPr/>
          </p:nvSpPr>
          <p:spPr>
            <a:xfrm flipH="1">
              <a:off x="6989406" y="5247441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/>
            <p:cNvSpPr/>
            <p:nvPr userDrawn="1"/>
          </p:nvSpPr>
          <p:spPr>
            <a:xfrm flipH="1">
              <a:off x="6089308" y="5766955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9" y="197961"/>
                    <a:pt x="113189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9" y="-5874"/>
                    <a:pt x="214789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/>
            <p:cNvSpPr/>
            <p:nvPr userDrawn="1"/>
          </p:nvSpPr>
          <p:spPr>
            <a:xfrm flipH="1">
              <a:off x="6145664" y="5216886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175"/>
                    <a:pt x="213360" y="620395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156" name="任意多边形: 形状 155"/>
            <p:cNvSpPr/>
            <p:nvPr userDrawn="1"/>
          </p:nvSpPr>
          <p:spPr>
            <a:xfrm flipH="1">
              <a:off x="6141854" y="5254351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0710"/>
                    <a:pt x="209550" y="582930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/>
            <p:cNvSpPr/>
            <p:nvPr userDrawn="1"/>
          </p:nvSpPr>
          <p:spPr>
            <a:xfrm flipH="1">
              <a:off x="5226516" y="5770401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3 w 323850"/>
                <a:gd name="connsiteY1" fmla="*/ 161766 h 190500"/>
                <a:gd name="connsiteX2" fmla="*/ 50323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8" y="197961"/>
                    <a:pt x="113188" y="197961"/>
                    <a:pt x="50323" y="161766"/>
                  </a:cubicBezTo>
                  <a:cubicBezTo>
                    <a:pt x="-12541" y="125571"/>
                    <a:pt x="-12541" y="66516"/>
                    <a:pt x="50323" y="30321"/>
                  </a:cubicBezTo>
                  <a:cubicBezTo>
                    <a:pt x="113188" y="-5874"/>
                    <a:pt x="214788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/>
            <p:cNvSpPr/>
            <p:nvPr userDrawn="1"/>
          </p:nvSpPr>
          <p:spPr>
            <a:xfrm flipH="1">
              <a:off x="5282872" y="5219697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/>
            <p:cNvSpPr/>
            <p:nvPr userDrawn="1"/>
          </p:nvSpPr>
          <p:spPr>
            <a:xfrm flipH="1">
              <a:off x="5279062" y="5257162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/>
            <p:cNvSpPr/>
            <p:nvPr userDrawn="1"/>
          </p:nvSpPr>
          <p:spPr>
            <a:xfrm flipH="1">
              <a:off x="4376379" y="5760680"/>
              <a:ext cx="323850" cy="190500"/>
            </a:xfrm>
            <a:custGeom>
              <a:avLst/>
              <a:gdLst>
                <a:gd name="connsiteX0" fmla="*/ 277653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3 w 323850"/>
                <a:gd name="connsiteY3" fmla="*/ 30321 h 190500"/>
                <a:gd name="connsiteX4" fmla="*/ 277653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3" y="161766"/>
                  </a:moveTo>
                  <a:cubicBezTo>
                    <a:pt x="214788" y="197961"/>
                    <a:pt x="113188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8" y="-5874"/>
                    <a:pt x="214788" y="-5874"/>
                    <a:pt x="277653" y="30321"/>
                  </a:cubicBezTo>
                  <a:cubicBezTo>
                    <a:pt x="340519" y="66516"/>
                    <a:pt x="340519" y="125571"/>
                    <a:pt x="277653" y="16176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/>
            <p:cNvSpPr/>
            <p:nvPr userDrawn="1"/>
          </p:nvSpPr>
          <p:spPr>
            <a:xfrm flipH="1">
              <a:off x="4432735" y="5210611"/>
              <a:ext cx="209550" cy="666750"/>
            </a:xfrm>
            <a:custGeom>
              <a:avLst/>
              <a:gdLst>
                <a:gd name="connsiteX0" fmla="*/ 210819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19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19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4" y="675640"/>
                    <a:pt x="140335" y="675640"/>
                    <a:pt x="180975" y="652145"/>
                  </a:cubicBezTo>
                  <a:cubicBezTo>
                    <a:pt x="203835" y="638175"/>
                    <a:pt x="213360" y="620395"/>
                    <a:pt x="210819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/>
            <p:cNvSpPr/>
            <p:nvPr userDrawn="1"/>
          </p:nvSpPr>
          <p:spPr>
            <a:xfrm flipH="1">
              <a:off x="4428925" y="5248076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0710"/>
                    <a:pt x="209550" y="582930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/>
            <p:cNvSpPr/>
            <p:nvPr userDrawn="1"/>
          </p:nvSpPr>
          <p:spPr>
            <a:xfrm flipH="1">
              <a:off x="3551242" y="5764503"/>
              <a:ext cx="323850" cy="190500"/>
            </a:xfrm>
            <a:custGeom>
              <a:avLst/>
              <a:gdLst>
                <a:gd name="connsiteX0" fmla="*/ 277653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3 w 323850"/>
                <a:gd name="connsiteY3" fmla="*/ 30321 h 190500"/>
                <a:gd name="connsiteX4" fmla="*/ 277653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3" y="161766"/>
                  </a:moveTo>
                  <a:cubicBezTo>
                    <a:pt x="214788" y="197961"/>
                    <a:pt x="113188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8" y="-5874"/>
                    <a:pt x="214788" y="-5874"/>
                    <a:pt x="277653" y="30321"/>
                  </a:cubicBezTo>
                  <a:cubicBezTo>
                    <a:pt x="340519" y="66516"/>
                    <a:pt x="340519" y="125571"/>
                    <a:pt x="277653" y="16176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/>
            <p:cNvSpPr/>
            <p:nvPr userDrawn="1"/>
          </p:nvSpPr>
          <p:spPr>
            <a:xfrm flipH="1">
              <a:off x="3607598" y="5213799"/>
              <a:ext cx="209550" cy="666750"/>
            </a:xfrm>
            <a:custGeom>
              <a:avLst/>
              <a:gdLst>
                <a:gd name="connsiteX0" fmla="*/ 210819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19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19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4" y="675640"/>
                    <a:pt x="140335" y="675640"/>
                    <a:pt x="180975" y="652145"/>
                  </a:cubicBezTo>
                  <a:cubicBezTo>
                    <a:pt x="203835" y="638810"/>
                    <a:pt x="213994" y="621030"/>
                    <a:pt x="210819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/>
            <p:cNvSpPr/>
            <p:nvPr userDrawn="1"/>
          </p:nvSpPr>
          <p:spPr>
            <a:xfrm flipH="1">
              <a:off x="3603788" y="5251264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/>
            <p:cNvSpPr/>
            <p:nvPr userDrawn="1"/>
          </p:nvSpPr>
          <p:spPr>
            <a:xfrm flipH="1">
              <a:off x="2764650" y="5752279"/>
              <a:ext cx="323850" cy="190500"/>
            </a:xfrm>
            <a:custGeom>
              <a:avLst/>
              <a:gdLst>
                <a:gd name="connsiteX0" fmla="*/ 277654 w 323850"/>
                <a:gd name="connsiteY0" fmla="*/ 161766 h 190500"/>
                <a:gd name="connsiteX1" fmla="*/ 50324 w 323850"/>
                <a:gd name="connsiteY1" fmla="*/ 161766 h 190500"/>
                <a:gd name="connsiteX2" fmla="*/ 50324 w 323850"/>
                <a:gd name="connsiteY2" fmla="*/ 30321 h 190500"/>
                <a:gd name="connsiteX3" fmla="*/ 277654 w 323850"/>
                <a:gd name="connsiteY3" fmla="*/ 30321 h 190500"/>
                <a:gd name="connsiteX4" fmla="*/ 277654 w 323850"/>
                <a:gd name="connsiteY4" fmla="*/ 161766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190500">
                  <a:moveTo>
                    <a:pt x="277654" y="161766"/>
                  </a:moveTo>
                  <a:cubicBezTo>
                    <a:pt x="214789" y="197961"/>
                    <a:pt x="113189" y="197961"/>
                    <a:pt x="50324" y="161766"/>
                  </a:cubicBezTo>
                  <a:cubicBezTo>
                    <a:pt x="-12541" y="125571"/>
                    <a:pt x="-12541" y="66516"/>
                    <a:pt x="50324" y="30321"/>
                  </a:cubicBezTo>
                  <a:cubicBezTo>
                    <a:pt x="113189" y="-5874"/>
                    <a:pt x="214789" y="-5874"/>
                    <a:pt x="277654" y="30321"/>
                  </a:cubicBezTo>
                  <a:cubicBezTo>
                    <a:pt x="340519" y="66516"/>
                    <a:pt x="340519" y="125571"/>
                    <a:pt x="277654" y="16176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/>
            <p:cNvSpPr/>
            <p:nvPr userDrawn="1"/>
          </p:nvSpPr>
          <p:spPr>
            <a:xfrm flipH="1">
              <a:off x="2821800" y="5213799"/>
              <a:ext cx="209550" cy="666750"/>
            </a:xfrm>
            <a:custGeom>
              <a:avLst/>
              <a:gdLst>
                <a:gd name="connsiteX0" fmla="*/ 210820 w 209550"/>
                <a:gd name="connsiteY0" fmla="*/ 603250 h 666750"/>
                <a:gd name="connsiteX1" fmla="*/ 107950 w 209550"/>
                <a:gd name="connsiteY1" fmla="*/ 3175 h 666750"/>
                <a:gd name="connsiteX2" fmla="*/ 5080 w 209550"/>
                <a:gd name="connsiteY2" fmla="*/ 598170 h 666750"/>
                <a:gd name="connsiteX3" fmla="*/ 33655 w 209550"/>
                <a:gd name="connsiteY3" fmla="*/ 652145 h 666750"/>
                <a:gd name="connsiteX4" fmla="*/ 180975 w 209550"/>
                <a:gd name="connsiteY4" fmla="*/ 652145 h 666750"/>
                <a:gd name="connsiteX5" fmla="*/ 210820 w 209550"/>
                <a:gd name="connsiteY5" fmla="*/ 6032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666750">
                  <a:moveTo>
                    <a:pt x="210820" y="603250"/>
                  </a:moveTo>
                  <a:lnTo>
                    <a:pt x="107950" y="3175"/>
                  </a:lnTo>
                  <a:lnTo>
                    <a:pt x="5080" y="598170"/>
                  </a:lnTo>
                  <a:cubicBezTo>
                    <a:pt x="-1270" y="617220"/>
                    <a:pt x="8255" y="637540"/>
                    <a:pt x="33655" y="652145"/>
                  </a:cubicBezTo>
                  <a:cubicBezTo>
                    <a:pt x="74295" y="675640"/>
                    <a:pt x="140335" y="675640"/>
                    <a:pt x="180975" y="652145"/>
                  </a:cubicBezTo>
                  <a:cubicBezTo>
                    <a:pt x="203835" y="638810"/>
                    <a:pt x="213995" y="621030"/>
                    <a:pt x="210820" y="603250"/>
                  </a:cubicBez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/>
            <p:cNvSpPr/>
            <p:nvPr userDrawn="1"/>
          </p:nvSpPr>
          <p:spPr>
            <a:xfrm flipH="1">
              <a:off x="2817990" y="5251264"/>
              <a:ext cx="209550" cy="635000"/>
            </a:xfrm>
            <a:custGeom>
              <a:avLst/>
              <a:gdLst>
                <a:gd name="connsiteX0" fmla="*/ 207010 w 209550"/>
                <a:gd name="connsiteY0" fmla="*/ 565785 h 635000"/>
                <a:gd name="connsiteX1" fmla="*/ 110490 w 209550"/>
                <a:gd name="connsiteY1" fmla="*/ 3175 h 635000"/>
                <a:gd name="connsiteX2" fmla="*/ 165100 w 209550"/>
                <a:gd name="connsiteY2" fmla="*/ 531495 h 635000"/>
                <a:gd name="connsiteX3" fmla="*/ 135255 w 209550"/>
                <a:gd name="connsiteY3" fmla="*/ 580390 h 635000"/>
                <a:gd name="connsiteX4" fmla="*/ 3175 w 209550"/>
                <a:gd name="connsiteY4" fmla="*/ 587375 h 635000"/>
                <a:gd name="connsiteX5" fmla="*/ 30480 w 209550"/>
                <a:gd name="connsiteY5" fmla="*/ 615315 h 635000"/>
                <a:gd name="connsiteX6" fmla="*/ 177800 w 209550"/>
                <a:gd name="connsiteY6" fmla="*/ 615315 h 635000"/>
                <a:gd name="connsiteX7" fmla="*/ 207010 w 209550"/>
                <a:gd name="connsiteY7" fmla="*/ 565785 h 6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635000">
                  <a:moveTo>
                    <a:pt x="207010" y="565785"/>
                  </a:moveTo>
                  <a:lnTo>
                    <a:pt x="110490" y="3175"/>
                  </a:lnTo>
                  <a:lnTo>
                    <a:pt x="165100" y="531495"/>
                  </a:lnTo>
                  <a:cubicBezTo>
                    <a:pt x="168275" y="548640"/>
                    <a:pt x="158115" y="567055"/>
                    <a:pt x="135255" y="580390"/>
                  </a:cubicBezTo>
                  <a:cubicBezTo>
                    <a:pt x="99060" y="601345"/>
                    <a:pt x="43180" y="603250"/>
                    <a:pt x="3175" y="587375"/>
                  </a:cubicBezTo>
                  <a:cubicBezTo>
                    <a:pt x="7620" y="597535"/>
                    <a:pt x="16510" y="607060"/>
                    <a:pt x="30480" y="615315"/>
                  </a:cubicBezTo>
                  <a:cubicBezTo>
                    <a:pt x="71120" y="638810"/>
                    <a:pt x="137160" y="638810"/>
                    <a:pt x="177800" y="615315"/>
                  </a:cubicBezTo>
                  <a:cubicBezTo>
                    <a:pt x="200025" y="601345"/>
                    <a:pt x="210185" y="583565"/>
                    <a:pt x="207010" y="5657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19.jpeg"/><Relationship Id="rId1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5.png"/><Relationship Id="rId1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vmlDrawing" Target="../drawings/vmlDrawing2.v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7.wmf"/><Relationship Id="rId1" Type="http://schemas.openxmlformats.org/officeDocument/2006/relationships/oleObject" Target="../embeddings/oleObject2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30.jpeg"/><Relationship Id="rId1" Type="http://schemas.openxmlformats.org/officeDocument/2006/relationships/image" Target="../media/image29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6.xml"/><Relationship Id="rId5" Type="http://schemas.openxmlformats.org/officeDocument/2006/relationships/themeOverride" Target="../theme/themeOverride4.xml"/><Relationship Id="rId4" Type="http://schemas.openxmlformats.org/officeDocument/2006/relationships/tags" Target="../tags/tag6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7" Type="http://schemas.openxmlformats.org/officeDocument/2006/relationships/image" Target="../media/image14.png"/><Relationship Id="rId6" Type="http://schemas.openxmlformats.org/officeDocument/2006/relationships/image" Target="../media/image13.jpeg"/><Relationship Id="rId5" Type="http://schemas.openxmlformats.org/officeDocument/2006/relationships/image" Target="../media/image4.png"/><Relationship Id="rId4" Type="http://schemas.openxmlformats.org/officeDocument/2006/relationships/image" Target="../media/image12.png"/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魔方的创新</a:t>
            </a:r>
            <a:r>
              <a:rPr lang="en-US" altLang="zh-CN" dirty="0"/>
              <a:t>&amp;</a:t>
            </a:r>
            <a:r>
              <a:rPr lang="zh-CN" altLang="en-US" dirty="0"/>
              <a:t>创新和作坊</a:t>
            </a:r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IT</a:t>
            </a:r>
            <a:r>
              <a:rPr lang="zh-CN" altLang="en-US" dirty="0"/>
              <a:t>行业的创新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835422" y="4413798"/>
            <a:ext cx="5643769" cy="296271"/>
          </a:xfrm>
        </p:spPr>
        <p:txBody>
          <a:bodyPr/>
          <a:lstStyle/>
          <a:p>
            <a:r>
              <a:rPr lang="zh-CN" altLang="en-US" dirty="0"/>
              <a:t>龚文多</a:t>
            </a:r>
            <a:endParaRPr lang="zh-CN" altLang="en-US" dirty="0"/>
          </a:p>
        </p:txBody>
      </p:sp>
      <p:sp>
        <p:nvSpPr>
          <p:cNvPr id="8" name="文本占位符 7"/>
          <p:cNvSpPr/>
          <p:nvPr>
            <p:ph type="body" sz="quarter" idx="11"/>
          </p:nvPr>
        </p:nvSpPr>
        <p:spPr>
          <a:xfrm>
            <a:off x="835422" y="4802144"/>
            <a:ext cx="5643769" cy="296271"/>
          </a:xfrm>
        </p:spPr>
        <p:txBody>
          <a:bodyPr/>
          <a:p>
            <a:r>
              <a:rPr lang="en-US" altLang="zh-CN"/>
              <a:t>2018.10.21</a:t>
            </a:r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创新和作坊</a:t>
            </a:r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6094807" y="28891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图片 3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433560" y="4210050"/>
            <a:ext cx="2764790" cy="2643505"/>
          </a:xfrm>
          <a:prstGeom prst="rect">
            <a:avLst/>
          </a:prstGeom>
        </p:spPr>
      </p:pic>
      <p:pic>
        <p:nvPicPr>
          <p:cNvPr id="34" name="图片 33" descr="44602430438315608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5350" y="1146810"/>
            <a:ext cx="10058400" cy="3488690"/>
          </a:xfrm>
          <a:prstGeom prst="rect">
            <a:avLst/>
          </a:prstGeom>
        </p:spPr>
      </p:pic>
      <p:sp>
        <p:nvSpPr>
          <p:cNvPr id="35" name="文本框 34"/>
          <p:cNvSpPr txBox="1"/>
          <p:nvPr/>
        </p:nvSpPr>
        <p:spPr>
          <a:xfrm>
            <a:off x="7002145" y="4635500"/>
            <a:ext cx="184213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2004</a:t>
            </a:r>
            <a:r>
              <a:rPr lang="zh-CN" altLang="en-US"/>
              <a:t>年</a:t>
            </a:r>
            <a:r>
              <a:rPr lang="en-US" altLang="zh-CN"/>
              <a:t>11</a:t>
            </a:r>
            <a:r>
              <a:rPr lang="zh-CN" altLang="en-US"/>
              <a:t>月报道</a:t>
            </a:r>
            <a:endParaRPr lang="zh-CN" altLang="en-US"/>
          </a:p>
        </p:txBody>
      </p:sp>
      <p:sp>
        <p:nvSpPr>
          <p:cNvPr id="36" name="文本框 35"/>
          <p:cNvSpPr txBox="1"/>
          <p:nvPr/>
        </p:nvSpPr>
        <p:spPr>
          <a:xfrm>
            <a:off x="6764655" y="5400675"/>
            <a:ext cx="1300480" cy="76835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440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作坊</a:t>
            </a:r>
            <a:endParaRPr lang="zh-CN" altLang="en-US" sz="440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10515" y="1028700"/>
            <a:ext cx="6933565" cy="346646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5590" y="1169035"/>
            <a:ext cx="5028565" cy="4171315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对作坊的理解</a:t>
            </a:r>
            <a:endParaRPr lang="zh-CN" altLang="en-US" dirty="0"/>
          </a:p>
        </p:txBody>
      </p:sp>
      <p:sp>
        <p:nvSpPr>
          <p:cNvPr id="30" name="ïṡľïḍê"/>
          <p:cNvSpPr txBox="1"/>
          <p:nvPr/>
        </p:nvSpPr>
        <p:spPr bwMode="auto">
          <a:xfrm>
            <a:off x="1222375" y="4629785"/>
            <a:ext cx="5429885" cy="577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和顾客很熟悉，可以赊账。</a:t>
            </a:r>
            <a:endParaRPr lang="zh-CN" altLang="en-US" sz="2000" b="1" dirty="0"/>
          </a:p>
        </p:txBody>
      </p:sp>
      <p:sp>
        <p:nvSpPr>
          <p:cNvPr id="32" name="ïṡľïḍê"/>
          <p:cNvSpPr txBox="1"/>
          <p:nvPr/>
        </p:nvSpPr>
        <p:spPr bwMode="auto">
          <a:xfrm>
            <a:off x="1174750" y="3018155"/>
            <a:ext cx="5429885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只做某种行业，不太改行，商业技巧不多。</a:t>
            </a:r>
            <a:endParaRPr lang="zh-CN" altLang="en-US" sz="2000" b="1" dirty="0"/>
          </a:p>
        </p:txBody>
      </p:sp>
      <p:sp>
        <p:nvSpPr>
          <p:cNvPr id="33" name="ïṡľïḍê"/>
          <p:cNvSpPr txBox="1"/>
          <p:nvPr/>
        </p:nvSpPr>
        <p:spPr bwMode="auto">
          <a:xfrm>
            <a:off x="1174115" y="3811270"/>
            <a:ext cx="6202680" cy="608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不太做广告，主要靠口口相传，容易被技术进步淘汰。</a:t>
            </a:r>
            <a:endParaRPr lang="zh-CN" altLang="en-US" sz="2000" b="1" dirty="0"/>
          </a:p>
        </p:txBody>
      </p:sp>
      <p:sp>
        <p:nvSpPr>
          <p:cNvPr id="34" name="ïṡľïḍê"/>
          <p:cNvSpPr txBox="1"/>
          <p:nvPr/>
        </p:nvSpPr>
        <p:spPr bwMode="auto">
          <a:xfrm>
            <a:off x="1174115" y="2178050"/>
            <a:ext cx="5526405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人不多，师傅带徒弟，或家传手艺。</a:t>
            </a:r>
            <a:endParaRPr lang="zh-CN" altLang="en-US" sz="2000" b="1" dirty="0"/>
          </a:p>
        </p:txBody>
      </p:sp>
      <p:sp>
        <p:nvSpPr>
          <p:cNvPr id="35" name="ïṡľïḍê"/>
          <p:cNvSpPr txBox="1"/>
          <p:nvPr/>
        </p:nvSpPr>
        <p:spPr bwMode="auto">
          <a:xfrm>
            <a:off x="1174750" y="1474470"/>
            <a:ext cx="5429885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自己动手劳动，做出产品。</a:t>
            </a:r>
            <a:endParaRPr lang="zh-CN" altLang="en-US" sz="2000" b="1" dirty="0"/>
          </a:p>
        </p:txBody>
      </p:sp>
      <p:sp>
        <p:nvSpPr>
          <p:cNvPr id="36" name="ïṡľïḍê"/>
          <p:cNvSpPr txBox="1"/>
          <p:nvPr/>
        </p:nvSpPr>
        <p:spPr bwMode="auto">
          <a:xfrm>
            <a:off x="1270635" y="5427980"/>
            <a:ext cx="5429885" cy="577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其他。</a:t>
            </a:r>
            <a:endParaRPr lang="zh-CN" altLang="en-US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4" grpId="0"/>
      <p:bldP spid="32" grpId="0"/>
      <p:bldP spid="33" grpId="0"/>
      <p:bldP spid="30" grpId="0"/>
      <p:bldP spid="3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</a:t>
            </a:r>
            <a:r>
              <a:rPr lang="zh-CN" altLang="en-US" dirty="0"/>
              <a:t>自己手工劳动，做出产品</a:t>
            </a:r>
            <a:endParaRPr lang="zh-CN" altLang="en-US" dirty="0"/>
          </a:p>
        </p:txBody>
      </p:sp>
      <p:pic>
        <p:nvPicPr>
          <p:cNvPr id="83" name="图片 8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28370" y="1546225"/>
            <a:ext cx="3204845" cy="4069080"/>
          </a:xfrm>
          <a:prstGeom prst="rect">
            <a:avLst/>
          </a:prstGeom>
        </p:spPr>
      </p:pic>
      <p:grpSp>
        <p:nvGrpSpPr>
          <p:cNvPr id="88" name="组合 87"/>
          <p:cNvGrpSpPr/>
          <p:nvPr/>
        </p:nvGrpSpPr>
        <p:grpSpPr>
          <a:xfrm>
            <a:off x="4794250" y="1546225"/>
            <a:ext cx="2011680" cy="1882140"/>
            <a:chOff x="7550" y="2435"/>
            <a:chExt cx="3168" cy="2964"/>
          </a:xfrm>
        </p:grpSpPr>
        <p:sp>
          <p:nvSpPr>
            <p:cNvPr id="84" name="文本框 83"/>
            <p:cNvSpPr txBox="1"/>
            <p:nvPr/>
          </p:nvSpPr>
          <p:spPr>
            <a:xfrm>
              <a:off x="7550" y="2435"/>
              <a:ext cx="3088" cy="8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 sz="2800"/>
                <a:t>是作坊吗？</a:t>
              </a:r>
              <a:endParaRPr lang="zh-CN" altLang="en-US" sz="2800"/>
            </a:p>
          </p:txBody>
        </p:sp>
        <p:sp>
          <p:nvSpPr>
            <p:cNvPr id="85" name="文本框 84"/>
            <p:cNvSpPr txBox="1"/>
            <p:nvPr/>
          </p:nvSpPr>
          <p:spPr>
            <a:xfrm>
              <a:off x="7550" y="3511"/>
              <a:ext cx="3168" cy="18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原材料批发</a:t>
              </a:r>
              <a:endParaRPr lang="zh-CN" altLang="en-US"/>
            </a:p>
            <a:p>
              <a:r>
                <a:rPr lang="zh-CN" altLang="en-US"/>
                <a:t>手工加工而成</a:t>
              </a:r>
              <a:endParaRPr lang="zh-CN" altLang="en-US"/>
            </a:p>
            <a:p>
              <a:r>
                <a:rPr lang="zh-CN" altLang="en-US"/>
                <a:t>摊位不固定。。。</a:t>
              </a:r>
              <a:endParaRPr lang="zh-CN" altLang="en-US"/>
            </a:p>
            <a:p>
              <a:endParaRPr lang="zh-CN" altLang="en-US"/>
            </a:p>
          </p:txBody>
        </p:sp>
      </p:grpSp>
      <p:pic>
        <p:nvPicPr>
          <p:cNvPr id="87" name="图片 8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3760" y="1028700"/>
            <a:ext cx="3921125" cy="3959225"/>
          </a:xfrm>
          <a:prstGeom prst="rect">
            <a:avLst/>
          </a:prstGeom>
        </p:spPr>
      </p:pic>
      <p:sp>
        <p:nvSpPr>
          <p:cNvPr id="89" name="文本框 88"/>
          <p:cNvSpPr txBox="1"/>
          <p:nvPr/>
        </p:nvSpPr>
        <p:spPr>
          <a:xfrm>
            <a:off x="4794250" y="5494020"/>
            <a:ext cx="618680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3200">
                <a:solidFill>
                  <a:srgbClr val="FF0000"/>
                </a:solidFill>
              </a:rPr>
              <a:t>软件真的完全可以摆脱手工吗？</a:t>
            </a:r>
            <a:endParaRPr lang="zh-CN" altLang="en-US" sz="320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人不多，师傅带徒弟，或家传手艺</a:t>
            </a:r>
            <a:endParaRPr lang="zh-CN" altLang="en-US" dirty="0"/>
          </a:p>
        </p:txBody>
      </p:sp>
      <p:grpSp>
        <p:nvGrpSpPr>
          <p:cNvPr id="38" name="组合 37"/>
          <p:cNvGrpSpPr/>
          <p:nvPr/>
        </p:nvGrpSpPr>
        <p:grpSpPr>
          <a:xfrm>
            <a:off x="669925" y="1417955"/>
            <a:ext cx="5026660" cy="4098290"/>
            <a:chOff x="1055" y="2233"/>
            <a:chExt cx="7916" cy="6454"/>
          </a:xfrm>
        </p:grpSpPr>
        <p:pic>
          <p:nvPicPr>
            <p:cNvPr id="34" name="图片 33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1055" y="2233"/>
              <a:ext cx="7917" cy="5464"/>
            </a:xfrm>
            <a:prstGeom prst="rect">
              <a:avLst/>
            </a:prstGeom>
          </p:spPr>
        </p:pic>
        <p:sp>
          <p:nvSpPr>
            <p:cNvPr id="36" name="文本框 35"/>
            <p:cNvSpPr txBox="1"/>
            <p:nvPr/>
          </p:nvSpPr>
          <p:spPr>
            <a:xfrm>
              <a:off x="2939" y="8107"/>
              <a:ext cx="208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师傅带徒弟</a:t>
              </a:r>
              <a:endParaRPr lang="zh-CN" altLang="en-US"/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5949315" y="1286510"/>
            <a:ext cx="5571490" cy="4229735"/>
            <a:chOff x="9369" y="2026"/>
            <a:chExt cx="8774" cy="6661"/>
          </a:xfrm>
        </p:grpSpPr>
        <p:pic>
          <p:nvPicPr>
            <p:cNvPr id="35" name="图片 3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369" y="2026"/>
              <a:ext cx="8774" cy="5879"/>
            </a:xfrm>
            <a:prstGeom prst="rect">
              <a:avLst/>
            </a:prstGeom>
          </p:spPr>
        </p:pic>
        <p:sp>
          <p:nvSpPr>
            <p:cNvPr id="37" name="文本框 36"/>
            <p:cNvSpPr txBox="1"/>
            <p:nvPr/>
          </p:nvSpPr>
          <p:spPr>
            <a:xfrm>
              <a:off x="12527" y="8107"/>
              <a:ext cx="172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祖传手艺</a:t>
              </a:r>
              <a:endParaRPr lang="zh-CN" altLang="en-US"/>
            </a:p>
          </p:txBody>
        </p:sp>
      </p:grpSp>
      <p:sp>
        <p:nvSpPr>
          <p:cNvPr id="40" name="文本框 39"/>
          <p:cNvSpPr txBox="1"/>
          <p:nvPr/>
        </p:nvSpPr>
        <p:spPr>
          <a:xfrm>
            <a:off x="822325" y="5715635"/>
            <a:ext cx="10546080" cy="82994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400">
                <a:solidFill>
                  <a:srgbClr val="FF0000"/>
                </a:solidFill>
              </a:rPr>
              <a:t>小作坊主，如果加入了那些庞大的软件生产线，或者混迹于各种商业技巧中，</a:t>
            </a:r>
            <a:endParaRPr lang="zh-CN" altLang="en-US" sz="2400">
              <a:solidFill>
                <a:srgbClr val="FF0000"/>
              </a:solidFill>
            </a:endParaRPr>
          </a:p>
          <a:p>
            <a:r>
              <a:rPr lang="zh-CN" altLang="en-US" sz="2400">
                <a:solidFill>
                  <a:srgbClr val="FF0000"/>
                </a:solidFill>
              </a:rPr>
              <a:t>他们会更高兴吗？</a:t>
            </a:r>
            <a:endParaRPr lang="zh-CN" altLang="en-US" sz="240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</a:t>
            </a:r>
            <a:r>
              <a:rPr lang="zh-CN" altLang="en-US" dirty="0">
                <a:sym typeface="+mn-ea"/>
              </a:rPr>
              <a:t>只做某种行业，不太改行，商业技巧不多。</a:t>
            </a:r>
            <a:endParaRPr lang="en-US" altLang="zh-CN" dirty="0"/>
          </a:p>
        </p:txBody>
      </p:sp>
      <p:sp>
        <p:nvSpPr>
          <p:cNvPr id="29" name="文本框 28"/>
          <p:cNvSpPr txBox="1"/>
          <p:nvPr/>
        </p:nvSpPr>
        <p:spPr>
          <a:xfrm>
            <a:off x="5584825" y="4195445"/>
            <a:ext cx="6228080" cy="138366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800"/>
              <a:t>作坊专一会成为一品牌，</a:t>
            </a:r>
            <a:endParaRPr lang="zh-CN" altLang="en-US" sz="2800"/>
          </a:p>
          <a:p>
            <a:r>
              <a:rPr lang="zh-CN" altLang="en-US" sz="2800">
                <a:solidFill>
                  <a:srgbClr val="FF0000"/>
                </a:solidFill>
              </a:rPr>
              <a:t>软件专一会怎么样？</a:t>
            </a:r>
            <a:endParaRPr lang="zh-CN" altLang="en-US" sz="2800">
              <a:solidFill>
                <a:srgbClr val="FF0000"/>
              </a:solidFill>
            </a:endParaRPr>
          </a:p>
          <a:p>
            <a:r>
              <a:rPr lang="zh-CN" altLang="en-US" sz="2800">
                <a:solidFill>
                  <a:srgbClr val="FF0000"/>
                </a:solidFill>
              </a:rPr>
              <a:t>企业过多的商业技巧会带来什么问题？</a:t>
            </a:r>
            <a:endParaRPr lang="zh-CN" altLang="en-US" sz="2800">
              <a:solidFill>
                <a:srgbClr val="FF0000"/>
              </a:solidFill>
            </a:endParaRPr>
          </a:p>
        </p:txBody>
      </p:sp>
      <p:grpSp>
        <p:nvGrpSpPr>
          <p:cNvPr id="33" name="组合 32"/>
          <p:cNvGrpSpPr/>
          <p:nvPr/>
        </p:nvGrpSpPr>
        <p:grpSpPr>
          <a:xfrm>
            <a:off x="1040765" y="1320800"/>
            <a:ext cx="4211320" cy="4258310"/>
            <a:chOff x="1639" y="2080"/>
            <a:chExt cx="6632" cy="6706"/>
          </a:xfrm>
        </p:grpSpPr>
        <p:sp>
          <p:nvSpPr>
            <p:cNvPr id="26" name="文本框 25"/>
            <p:cNvSpPr txBox="1"/>
            <p:nvPr/>
          </p:nvSpPr>
          <p:spPr>
            <a:xfrm>
              <a:off x="1639" y="2080"/>
              <a:ext cx="6632" cy="91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zh-CN" altLang="en-US" sz="3200"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 Less Is More</a:t>
              </a:r>
              <a:endParaRPr lang="zh-CN" altLang="en-US" sz="32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pic>
          <p:nvPicPr>
            <p:cNvPr id="28" name="图片 27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1987" y="2999"/>
              <a:ext cx="4199" cy="5039"/>
            </a:xfrm>
            <a:prstGeom prst="rect">
              <a:avLst/>
            </a:prstGeom>
          </p:spPr>
        </p:pic>
        <p:sp>
          <p:nvSpPr>
            <p:cNvPr id="31" name="文本框 30"/>
            <p:cNvSpPr txBox="1"/>
            <p:nvPr/>
          </p:nvSpPr>
          <p:spPr>
            <a:xfrm>
              <a:off x="1987" y="8206"/>
              <a:ext cx="376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pPr algn="l"/>
              <a:r>
                <a:rPr lang="zh-CN" altLang="en-US"/>
                <a:t>路德维希·密斯·凡德罗</a:t>
              </a:r>
              <a:endParaRPr lang="zh-CN" altLang="en-US"/>
            </a:p>
          </p:txBody>
        </p:sp>
      </p:grpSp>
      <p:sp>
        <p:nvSpPr>
          <p:cNvPr id="32" name="文本框 31"/>
          <p:cNvSpPr txBox="1"/>
          <p:nvPr/>
        </p:nvSpPr>
        <p:spPr>
          <a:xfrm>
            <a:off x="4812665" y="1709420"/>
            <a:ext cx="36880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3600"/>
              <a:t>作者的</a:t>
            </a:r>
            <a:r>
              <a:rPr lang="en-US" altLang="zh-CN" sz="3600"/>
              <a:t>“</a:t>
            </a:r>
            <a:r>
              <a:rPr lang="zh-CN" altLang="en-US" sz="3600"/>
              <a:t>四高公司</a:t>
            </a:r>
            <a:r>
              <a:rPr lang="en-US" altLang="zh-CN" sz="3600"/>
              <a:t>”</a:t>
            </a:r>
            <a:endParaRPr lang="en-US" altLang="zh-CN" sz="36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2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4.</a:t>
            </a:r>
            <a:r>
              <a:rPr lang="zh-CN" altLang="en-US" dirty="0">
                <a:sym typeface="+mn-ea"/>
              </a:rPr>
              <a:t>不太做广告，主要靠口口相传，容易被技术进步淘汰</a:t>
            </a:r>
            <a:endParaRPr lang="zh-CN" altLang="en-US" dirty="0"/>
          </a:p>
        </p:txBody>
      </p:sp>
      <p:sp>
        <p:nvSpPr>
          <p:cNvPr id="26" name="文本框 25"/>
          <p:cNvSpPr txBox="1"/>
          <p:nvPr/>
        </p:nvSpPr>
        <p:spPr>
          <a:xfrm>
            <a:off x="790575" y="1630680"/>
            <a:ext cx="9072880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400"/>
              <a:t>有能力的作坊，往往能找到合适的渠道和空间，实现自己的价值</a:t>
            </a:r>
            <a:r>
              <a:rPr lang="zh-CN" altLang="en-US" sz="2800"/>
              <a:t>。</a:t>
            </a:r>
            <a:endParaRPr lang="zh-CN" altLang="en-US" sz="2800"/>
          </a:p>
        </p:txBody>
      </p:sp>
      <p:sp>
        <p:nvSpPr>
          <p:cNvPr id="27" name="文本框 26"/>
          <p:cNvSpPr txBox="1"/>
          <p:nvPr/>
        </p:nvSpPr>
        <p:spPr>
          <a:xfrm>
            <a:off x="790575" y="2498090"/>
            <a:ext cx="9936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400"/>
              <a:t>在庞大的企业内部，也可以构建小作坊，自己做主，做自己感兴趣的事。</a:t>
            </a:r>
            <a:endParaRPr lang="zh-CN" altLang="en-US" sz="2400"/>
          </a:p>
        </p:txBody>
      </p:sp>
      <p:grpSp>
        <p:nvGrpSpPr>
          <p:cNvPr id="41" name="组合 40"/>
          <p:cNvGrpSpPr/>
          <p:nvPr/>
        </p:nvGrpSpPr>
        <p:grpSpPr>
          <a:xfrm>
            <a:off x="1257300" y="3340100"/>
            <a:ext cx="9358630" cy="1410970"/>
            <a:chOff x="1980" y="5260"/>
            <a:chExt cx="14738" cy="2222"/>
          </a:xfrm>
        </p:grpSpPr>
        <p:graphicFrame>
          <p:nvGraphicFramePr>
            <p:cNvPr id="38" name="对象 37"/>
            <p:cNvGraphicFramePr/>
            <p:nvPr/>
          </p:nvGraphicFramePr>
          <p:xfrm>
            <a:off x="1980" y="5260"/>
            <a:ext cx="14738" cy="222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9" name="" r:id="rId1" imgW="4686300" imgH="2371725" progId="Paint.Picture">
                    <p:embed/>
                  </p:oleObj>
                </mc:Choice>
                <mc:Fallback>
                  <p:oleObj name="" r:id="rId1" imgW="4686300" imgH="2371725" progId="Paint.Picture">
                    <p:embed/>
                    <p:pic>
                      <p:nvPicPr>
                        <p:cNvPr id="0" name="图片 38"/>
                        <p:cNvPicPr/>
                        <p:nvPr/>
                      </p:nvPicPr>
                      <p:blipFill>
                        <a:blip r:embed="rId2"/>
                        <a:stretch>
                          <a:fillRect/>
                        </a:stretch>
                      </p:blipFill>
                      <p:spPr>
                        <a:xfrm>
                          <a:off x="1980" y="5260"/>
                          <a:ext cx="14738" cy="222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40" name="文本框 39"/>
            <p:cNvSpPr txBox="1"/>
            <p:nvPr/>
          </p:nvSpPr>
          <p:spPr>
            <a:xfrm>
              <a:off x="3216" y="5966"/>
              <a:ext cx="12768" cy="13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pPr algn="l"/>
              <a:r>
                <a:rPr lang="zh-CN" altLang="en-US" sz="2400">
                  <a:solidFill>
                    <a:srgbClr val="FF0000"/>
                  </a:solidFill>
                  <a:sym typeface="+mn-ea"/>
                </a:rPr>
                <a:t>从小事做起，重质量，讲信用，对产品负责，对工作自豪。</a:t>
              </a:r>
              <a:endParaRPr lang="zh-CN" altLang="en-US" sz="2400">
                <a:solidFill>
                  <a:srgbClr val="FF0000"/>
                </a:solidFill>
              </a:endParaRPr>
            </a:p>
            <a:p>
              <a:endParaRPr lang="zh-CN" altLang="en-US" sz="2400">
                <a:solidFill>
                  <a:srgbClr val="FF0000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2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1</a:t>
            </a:r>
            <a:r>
              <a:rPr lang="zh-CN" altLang="en-US">
                <a:sym typeface="+mn-ea"/>
              </a:rPr>
              <a:t>作坊就在那里</a:t>
            </a:r>
            <a:endParaRPr lang="en-US" altLang="zh-CN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27" name="文本框 26"/>
          <p:cNvSpPr txBox="1"/>
          <p:nvPr/>
        </p:nvSpPr>
        <p:spPr>
          <a:xfrm>
            <a:off x="669925" y="1204595"/>
            <a:ext cx="87934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“</a:t>
            </a:r>
            <a:r>
              <a:rPr lang="zh-CN" altLang="en-US"/>
              <a:t>作坊就在那里，装作没看见，还是走进去？走进去之前，先看看你喜欢不喜欢的事：</a:t>
            </a:r>
            <a:r>
              <a:rPr lang="en-US" altLang="zh-CN"/>
              <a:t>”</a:t>
            </a:r>
            <a:endParaRPr lang="en-US" altLang="zh-CN"/>
          </a:p>
        </p:txBody>
      </p:sp>
      <p:pic>
        <p:nvPicPr>
          <p:cNvPr id="29" name="图片 28" descr="4203422699565491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98830" y="1572895"/>
            <a:ext cx="10057765" cy="48564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42" name="文本框 41"/>
          <p:cNvSpPr txBox="1"/>
          <p:nvPr/>
        </p:nvSpPr>
        <p:spPr>
          <a:xfrm>
            <a:off x="803275" y="1330960"/>
            <a:ext cx="659257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 altLang="zh-CN" sz="3600" dirty="0">
                <a:sym typeface="+mn-ea"/>
              </a:rPr>
              <a:t>if(</a:t>
            </a:r>
            <a:r>
              <a:rPr lang="zh-CN" altLang="en-US" sz="3600" dirty="0">
                <a:sym typeface="+mn-ea"/>
              </a:rPr>
              <a:t>作坊</a:t>
            </a:r>
            <a:r>
              <a:rPr lang="en-US" altLang="zh-CN" sz="3600" dirty="0">
                <a:sym typeface="+mn-ea"/>
              </a:rPr>
              <a:t>==</a:t>
            </a:r>
            <a:r>
              <a:rPr lang="zh-CN" altLang="en-US" sz="3600" dirty="0">
                <a:sym typeface="+mn-ea"/>
              </a:rPr>
              <a:t>技术</a:t>
            </a:r>
            <a:r>
              <a:rPr lang="en-US" altLang="zh-CN" sz="3600" dirty="0">
                <a:sym typeface="+mn-ea"/>
              </a:rPr>
              <a:t>||</a:t>
            </a:r>
            <a:r>
              <a:rPr lang="zh-CN" altLang="en-US" sz="3600" dirty="0">
                <a:sym typeface="+mn-ea"/>
              </a:rPr>
              <a:t>作坊</a:t>
            </a:r>
            <a:r>
              <a:rPr lang="en-US" altLang="zh-CN" sz="3600" dirty="0">
                <a:sym typeface="+mn-ea"/>
              </a:rPr>
              <a:t>==</a:t>
            </a:r>
            <a:r>
              <a:rPr lang="zh-CN" altLang="en-US" sz="3600" dirty="0">
                <a:sym typeface="+mn-ea"/>
              </a:rPr>
              <a:t>潜心研究</a:t>
            </a:r>
            <a:r>
              <a:rPr lang="en-US" altLang="zh-CN" sz="3600" dirty="0">
                <a:sym typeface="+mn-ea"/>
              </a:rPr>
              <a:t>)</a:t>
            </a:r>
            <a:endParaRPr lang="zh-CN" altLang="en-US" dirty="0"/>
          </a:p>
          <a:p>
            <a:endParaRPr lang="zh-CN" altLang="en-US"/>
          </a:p>
        </p:txBody>
      </p:sp>
      <p:sp>
        <p:nvSpPr>
          <p:cNvPr id="35" name="文本框 34"/>
          <p:cNvSpPr txBox="1"/>
          <p:nvPr/>
        </p:nvSpPr>
        <p:spPr>
          <a:xfrm>
            <a:off x="1748790" y="2252980"/>
            <a:ext cx="198247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/>
              <a:t>大数据</a:t>
            </a:r>
            <a:endParaRPr lang="zh-CN" altLang="en-US" sz="2400"/>
          </a:p>
        </p:txBody>
      </p:sp>
      <p:sp>
        <p:nvSpPr>
          <p:cNvPr id="36" name="文本框 35"/>
          <p:cNvSpPr txBox="1"/>
          <p:nvPr/>
        </p:nvSpPr>
        <p:spPr>
          <a:xfrm>
            <a:off x="984885" y="2640330"/>
            <a:ext cx="10972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400"/>
              <a:t>云计算</a:t>
            </a:r>
            <a:endParaRPr lang="zh-CN" altLang="en-US" sz="2400"/>
          </a:p>
        </p:txBody>
      </p:sp>
      <p:sp>
        <p:nvSpPr>
          <p:cNvPr id="37" name="文本框 36"/>
          <p:cNvSpPr txBox="1"/>
          <p:nvPr/>
        </p:nvSpPr>
        <p:spPr>
          <a:xfrm>
            <a:off x="2786380" y="2435225"/>
            <a:ext cx="2468880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000"/>
              <a:t>区块链。。。。。。</a:t>
            </a:r>
            <a:endParaRPr lang="zh-CN" altLang="en-US" sz="2000"/>
          </a:p>
        </p:txBody>
      </p:sp>
      <p:sp>
        <p:nvSpPr>
          <p:cNvPr id="38" name="文本框 37"/>
          <p:cNvSpPr txBox="1"/>
          <p:nvPr/>
        </p:nvSpPr>
        <p:spPr>
          <a:xfrm>
            <a:off x="1890395" y="2834005"/>
            <a:ext cx="14020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400"/>
              <a:t>人工智能</a:t>
            </a:r>
            <a:endParaRPr lang="zh-CN" altLang="en-US" sz="2400"/>
          </a:p>
        </p:txBody>
      </p:sp>
      <p:pic>
        <p:nvPicPr>
          <p:cNvPr id="41" name="图片 40" descr="c4e81da8f24744828e881d26e16308c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93700" y="3414395"/>
            <a:ext cx="5574030" cy="3171825"/>
          </a:xfrm>
          <a:prstGeom prst="rect">
            <a:avLst/>
          </a:prstGeom>
        </p:spPr>
      </p:pic>
      <p:pic>
        <p:nvPicPr>
          <p:cNvPr id="43" name="图片 42" descr="9143e84152054016a3f01a34584c09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7730" y="3413760"/>
            <a:ext cx="5553075" cy="31724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/>
      <p:bldP spid="38" grpId="0"/>
      <p:bldP spid="3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313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19436" y="1268760"/>
            <a:ext cx="6970864" cy="4286868"/>
            <a:chOff x="1019436" y="1268760"/>
            <a:chExt cx="6970864" cy="4286868"/>
          </a:xfrm>
        </p:grpSpPr>
        <p:grpSp>
          <p:nvGrpSpPr>
            <p:cNvPr id="3" name="işļîḋê"/>
            <p:cNvGrpSpPr/>
            <p:nvPr/>
          </p:nvGrpSpPr>
          <p:grpSpPr>
            <a:xfrm>
              <a:off x="1095774" y="1682282"/>
              <a:ext cx="3958986" cy="3873346"/>
              <a:chOff x="-949635" y="0"/>
              <a:chExt cx="7009631" cy="6858000"/>
            </a:xfrm>
          </p:grpSpPr>
          <p:sp>
            <p:nvSpPr>
              <p:cNvPr id="23" name="ï$ḻíde"/>
              <p:cNvSpPr/>
              <p:nvPr/>
            </p:nvSpPr>
            <p:spPr bwMode="auto">
              <a:xfrm>
                <a:off x="-949635" y="0"/>
                <a:ext cx="7009631" cy="6858000"/>
              </a:xfrm>
              <a:prstGeom prst="diamond">
                <a:avLst/>
              </a:prstGeom>
              <a:solidFill>
                <a:schemeClr val="tx2">
                  <a:lumMod val="20000"/>
                  <a:lumOff val="80000"/>
                  <a:alpha val="35000"/>
                </a:schemeClr>
              </a:solidFill>
              <a:ln w="19050">
                <a:noFill/>
                <a:rou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</a:p>
            </p:txBody>
          </p:sp>
          <p:sp>
            <p:nvSpPr>
              <p:cNvPr id="24" name="ïṧľîḋe"/>
              <p:cNvSpPr/>
              <p:nvPr/>
            </p:nvSpPr>
            <p:spPr bwMode="auto">
              <a:xfrm>
                <a:off x="-176517" y="653134"/>
                <a:ext cx="5647878" cy="5525706"/>
              </a:xfrm>
              <a:prstGeom prst="diamond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9050">
                <a:noFill/>
                <a:rou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</a:p>
            </p:txBody>
          </p:sp>
        </p:grpSp>
        <p:grpSp>
          <p:nvGrpSpPr>
            <p:cNvPr id="4" name="íṡlïďé"/>
            <p:cNvGrpSpPr/>
            <p:nvPr/>
          </p:nvGrpSpPr>
          <p:grpSpPr>
            <a:xfrm>
              <a:off x="1019436" y="2433127"/>
              <a:ext cx="2371656" cy="2371655"/>
              <a:chOff x="990600" y="2044717"/>
              <a:chExt cx="2768566" cy="2768566"/>
            </a:xfrm>
          </p:grpSpPr>
          <p:sp>
            <p:nvSpPr>
              <p:cNvPr id="21" name="ïşḷíde"/>
              <p:cNvSpPr/>
              <p:nvPr/>
            </p:nvSpPr>
            <p:spPr bwMode="auto">
              <a:xfrm>
                <a:off x="990600" y="2044717"/>
                <a:ext cx="2768566" cy="2768566"/>
              </a:xfrm>
              <a:prstGeom prst="diamond">
                <a:avLst/>
              </a:prstGeom>
              <a:solidFill>
                <a:schemeClr val="accent1"/>
              </a:solidFill>
              <a:ln w="50800">
                <a:noFill/>
                <a:rou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</a:p>
            </p:txBody>
          </p:sp>
          <p:sp>
            <p:nvSpPr>
              <p:cNvPr id="22" name="işḷiḋê"/>
              <p:cNvSpPr txBox="1"/>
              <p:nvPr/>
            </p:nvSpPr>
            <p:spPr>
              <a:xfrm>
                <a:off x="1429100" y="3294494"/>
                <a:ext cx="1800200" cy="43540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fontScale="40000" lnSpcReduction="20000"/>
              </a:bodyPr>
              <a:lstStyle/>
              <a:p>
                <a:pPr algn="ctr"/>
                <a:r>
                  <a:rPr lang="en-US" altLang="zh-CN" sz="4400" dirty="0">
                    <a:solidFill>
                      <a:schemeClr val="bg1"/>
                    </a:solidFill>
                  </a:rPr>
                  <a:t>CONTENTS</a:t>
                </a:r>
                <a:endParaRPr lang="en-US" altLang="zh-CN" sz="44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" name="îş1îdè"/>
            <p:cNvSpPr/>
            <p:nvPr/>
          </p:nvSpPr>
          <p:spPr bwMode="auto">
            <a:xfrm>
              <a:off x="2505566" y="1268760"/>
              <a:ext cx="986397" cy="986397"/>
            </a:xfrm>
            <a:prstGeom prst="diamond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/>
            <a:p>
              <a:pPr algn="ctr"/>
              <a:r>
                <a:rPr lang="en-US" altLang="zh-CN" sz="2400" b="1">
                  <a:solidFill>
                    <a:schemeClr val="bg1"/>
                  </a:solidFill>
                  <a:latin typeface="Impact" panose="020B0806030902050204" pitchFamily="34" charset="0"/>
                </a:rPr>
                <a:t>01</a:t>
              </a:r>
              <a:endParaRPr lang="en-US" altLang="zh-CN" sz="2400" b="1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" name="ïṡḻíḓê"/>
            <p:cNvSpPr/>
            <p:nvPr/>
          </p:nvSpPr>
          <p:spPr bwMode="auto">
            <a:xfrm>
              <a:off x="3609417" y="2350038"/>
              <a:ext cx="986397" cy="986397"/>
            </a:xfrm>
            <a:prstGeom prst="diamond">
              <a:avLst/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</a:ln>
          </p:spPr>
          <p:txBody>
            <a:bodyPr vert="horz" wrap="square" lIns="91440" tIns="45720" rIns="91440" bIns="45720" anchor="ctr" anchorCtr="1" compatLnSpc="1">
              <a:normAutofit fontScale="92500"/>
            </a:bodyPr>
            <a:lstStyle/>
            <a:p>
              <a:pPr algn="ctr"/>
              <a:r>
                <a:rPr lang="en-US" altLang="zh-CN" sz="2400" b="1">
                  <a:solidFill>
                    <a:schemeClr val="bg1"/>
                  </a:solidFill>
                  <a:latin typeface="Impact" panose="020B0806030902050204" pitchFamily="34" charset="0"/>
                </a:rPr>
                <a:t>02</a:t>
              </a:r>
              <a:endParaRPr lang="en-US" altLang="zh-CN" sz="2400" b="1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9" name="iŝlídé"/>
            <p:cNvSpPr txBox="1"/>
            <p:nvPr/>
          </p:nvSpPr>
          <p:spPr>
            <a:xfrm>
              <a:off x="3491962" y="1430974"/>
              <a:ext cx="3394487" cy="290678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/>
            </a:bodyPr>
            <a:lstStyle/>
            <a:p>
              <a:r>
                <a:rPr lang="zh-CN" altLang="en-US" sz="1100" b="1" dirty="0"/>
                <a:t>魔方的创新</a:t>
              </a:r>
              <a:endParaRPr lang="zh-CN" altLang="en-US" sz="1100" b="1" dirty="0"/>
            </a:p>
          </p:txBody>
        </p:sp>
        <p:sp>
          <p:nvSpPr>
            <p:cNvPr id="17" name="ïsḷïḑê"/>
            <p:cNvSpPr txBox="1"/>
            <p:nvPr/>
          </p:nvSpPr>
          <p:spPr>
            <a:xfrm>
              <a:off x="4595813" y="2490896"/>
              <a:ext cx="3394487" cy="290678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/>
            </a:bodyPr>
            <a:lstStyle/>
            <a:p>
              <a:r>
                <a:rPr lang="zh-CN" altLang="en-US" sz="1100" b="1" dirty="0"/>
                <a:t>创新和作坊</a:t>
              </a:r>
              <a:endParaRPr lang="zh-CN" altLang="en-US" sz="1100" b="1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en-US" dirty="0"/>
              <a:t>2018.10.21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龚文多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魔方的创新</a:t>
            </a:r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6094807" y="28891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书中的例子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689860" y="2473960"/>
            <a:ext cx="1419225" cy="293306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3079750" y="5407025"/>
            <a:ext cx="6400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果冻</a:t>
            </a:r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1915" y="2473960"/>
            <a:ext cx="2723515" cy="2343150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9007475" y="2082165"/>
            <a:ext cx="1494790" cy="3488055"/>
            <a:chOff x="14185" y="3279"/>
            <a:chExt cx="2354" cy="5493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185" y="3279"/>
              <a:ext cx="2355" cy="4589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14859" y="8192"/>
              <a:ext cx="100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小飞</a:t>
              </a:r>
              <a:endParaRPr lang="zh-CN" altLang="en-US"/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3719830" y="1247140"/>
            <a:ext cx="1441450" cy="1226820"/>
            <a:chOff x="5858" y="1964"/>
            <a:chExt cx="2270" cy="1932"/>
          </a:xfrm>
        </p:grpSpPr>
        <p:sp>
          <p:nvSpPr>
            <p:cNvPr id="10" name="椭圆形标注 9"/>
            <p:cNvSpPr/>
            <p:nvPr/>
          </p:nvSpPr>
          <p:spPr>
            <a:xfrm>
              <a:off x="5858" y="1964"/>
              <a:ext cx="2271" cy="1932"/>
            </a:xfrm>
            <a:prstGeom prst="wedgeEllipseCallou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6225" y="2204"/>
              <a:ext cx="1733" cy="14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右前左</a:t>
              </a:r>
              <a:endParaRPr lang="zh-CN" altLang="en-US"/>
            </a:p>
            <a:p>
              <a:r>
                <a:rPr lang="zh-CN" altLang="en-US"/>
                <a:t>左前后</a:t>
              </a:r>
              <a:endParaRPr lang="zh-CN" altLang="en-US"/>
            </a:p>
            <a:p>
              <a:r>
                <a:rPr lang="en-US" altLang="zh-CN"/>
                <a:t>*&amp;*#@</a:t>
              </a:r>
              <a:r>
                <a:rPr lang="zh-CN" altLang="en-US"/>
                <a:t>￥</a:t>
              </a:r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000 0.000000 C -0.023385 -0.007037 -0.083021 -0.040463 -0.125469 -0.025278 C -0.167917 -0.010093 -0.185208 0.016111 -0.212135 0.075926 C -0.239063 0.135741 -0.256354 0.187685 -0.260000 0.273704 C -0.263646 0.359722 -0.269062 0.418148 -0.230260 0.506019 C -0.191458 0.593889 -0.134010 0.704259 -0.065937 0.712963 C 0.002135 0.721667 0.070417 0.639907 0.110000 0.549722 C 0.149583 0.459537 0.135365 0.358796 0.131979 0.262222 C 0.128594 0.165648 0.148021 0.083796 0.093177 0.066759 C 0.038333 0.049722 -0.093646 0.113704 -0.142292 0.177130 C -0.190938 0.240556 -0.180312 0.337130 -0.150052 0.384074 C -0.119792 0.431019 -0.036198 0.452685 0.009062 0.411759 C 0.054323 0.370833 0.026927 0.266389 0.076354 0.179444 C 0.125781 0.092500 0.163281 0.010185 0.256146 -0.022963 C 0.349010 -0.056111 0.487448 0.002500 0.540781 0.013889 " pathEditMode="relative" ptsTypes="">
                                      <p:cBhvr>
                                        <p:cTn id="2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8" dur="2000" fill="hold"/>
                                        <p:tgtEl>
                                          <p:spTgt spid="1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小飞的创新</a:t>
            </a:r>
            <a:endParaRPr lang="zh-CN" altLang="en-US" dirty="0"/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368675" y="1665605"/>
            <a:ext cx="5452745" cy="3526790"/>
          </a:xfrm>
          <a:prstGeom prst="rect">
            <a:avLst/>
          </a:prstGeom>
        </p:spPr>
      </p:pic>
      <p:grpSp>
        <p:nvGrpSpPr>
          <p:cNvPr id="35" name="组合 34"/>
          <p:cNvGrpSpPr/>
          <p:nvPr/>
        </p:nvGrpSpPr>
        <p:grpSpPr>
          <a:xfrm>
            <a:off x="1256665" y="1943735"/>
            <a:ext cx="1380490" cy="3493770"/>
            <a:chOff x="1979" y="3061"/>
            <a:chExt cx="2174" cy="5502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79" y="3061"/>
              <a:ext cx="2175" cy="4679"/>
            </a:xfrm>
            <a:prstGeom prst="rect">
              <a:avLst/>
            </a:prstGeom>
          </p:spPr>
        </p:pic>
        <p:sp>
          <p:nvSpPr>
            <p:cNvPr id="34" name="文本框 33"/>
            <p:cNvSpPr txBox="1"/>
            <p:nvPr/>
          </p:nvSpPr>
          <p:spPr>
            <a:xfrm>
              <a:off x="2562" y="7983"/>
              <a:ext cx="100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小飞</a:t>
              </a:r>
              <a:endParaRPr lang="zh-CN" altLang="en-US"/>
            </a:p>
          </p:txBody>
        </p:sp>
      </p:grpSp>
      <p:grpSp>
        <p:nvGrpSpPr>
          <p:cNvPr id="39" name="组合 38"/>
          <p:cNvGrpSpPr/>
          <p:nvPr/>
        </p:nvGrpSpPr>
        <p:grpSpPr>
          <a:xfrm rot="1200000">
            <a:off x="9470390" y="1258570"/>
            <a:ext cx="1943100" cy="2072640"/>
            <a:chOff x="14359" y="3210"/>
            <a:chExt cx="3060" cy="3264"/>
          </a:xfrm>
        </p:grpSpPr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401" y="3210"/>
              <a:ext cx="1695" cy="1503"/>
            </a:xfrm>
            <a:prstGeom prst="rect">
              <a:avLst/>
            </a:prstGeom>
          </p:spPr>
        </p:pic>
        <p:pic>
          <p:nvPicPr>
            <p:cNvPr id="37" name="图片 3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725" y="4081"/>
              <a:ext cx="1695" cy="1503"/>
            </a:xfrm>
            <a:prstGeom prst="rect">
              <a:avLst/>
            </a:prstGeom>
          </p:spPr>
        </p:pic>
        <p:pic>
          <p:nvPicPr>
            <p:cNvPr id="38" name="图片 3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359" y="4972"/>
              <a:ext cx="1695" cy="1503"/>
            </a:xfrm>
            <a:prstGeom prst="rect">
              <a:avLst/>
            </a:prstGeom>
          </p:spPr>
        </p:pic>
      </p:grpSp>
      <p:grpSp>
        <p:nvGrpSpPr>
          <p:cNvPr id="42" name="组合 41"/>
          <p:cNvGrpSpPr/>
          <p:nvPr/>
        </p:nvGrpSpPr>
        <p:grpSpPr>
          <a:xfrm>
            <a:off x="10182225" y="4725035"/>
            <a:ext cx="1334135" cy="1279525"/>
            <a:chOff x="15426" y="6917"/>
            <a:chExt cx="2710" cy="2539"/>
          </a:xfrm>
        </p:grpSpPr>
        <p:pic>
          <p:nvPicPr>
            <p:cNvPr id="41" name="图片 4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512" y="7466"/>
              <a:ext cx="1625" cy="1990"/>
            </a:xfrm>
            <a:prstGeom prst="rect">
              <a:avLst/>
            </a:prstGeom>
          </p:spPr>
        </p:pic>
        <p:pic>
          <p:nvPicPr>
            <p:cNvPr id="40" name="图片 3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020000">
              <a:off x="15426" y="6917"/>
              <a:ext cx="1445" cy="1770"/>
            </a:xfrm>
            <a:prstGeom prst="rect">
              <a:avLst/>
            </a:prstGeom>
          </p:spPr>
        </p:pic>
      </p:grpSp>
    </p:spTree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果冻的反击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31" name="组合 30"/>
          <p:cNvGrpSpPr/>
          <p:nvPr/>
        </p:nvGrpSpPr>
        <p:grpSpPr>
          <a:xfrm>
            <a:off x="1461770" y="1971675"/>
            <a:ext cx="1475740" cy="3402330"/>
            <a:chOff x="2302" y="3105"/>
            <a:chExt cx="2324" cy="5358"/>
          </a:xfrm>
        </p:grpSpPr>
        <p:pic>
          <p:nvPicPr>
            <p:cNvPr id="29" name="图片 28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2302" y="3105"/>
              <a:ext cx="2325" cy="4589"/>
            </a:xfrm>
            <a:prstGeom prst="rect">
              <a:avLst/>
            </a:prstGeom>
          </p:spPr>
        </p:pic>
        <p:sp>
          <p:nvSpPr>
            <p:cNvPr id="30" name="文本框 29"/>
            <p:cNvSpPr txBox="1"/>
            <p:nvPr/>
          </p:nvSpPr>
          <p:spPr>
            <a:xfrm>
              <a:off x="2961" y="7883"/>
              <a:ext cx="100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果冻</a:t>
              </a:r>
              <a:endParaRPr lang="zh-CN" altLang="en-US"/>
            </a:p>
          </p:txBody>
        </p:sp>
      </p:grpSp>
      <p:pic>
        <p:nvPicPr>
          <p:cNvPr id="32" name="图片 3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4775" y="1385570"/>
            <a:ext cx="793115" cy="779145"/>
          </a:xfrm>
          <a:prstGeom prst="rect">
            <a:avLst/>
          </a:prstGeom>
        </p:spPr>
      </p:pic>
      <p:grpSp>
        <p:nvGrpSpPr>
          <p:cNvPr id="38" name="组合 37"/>
          <p:cNvGrpSpPr/>
          <p:nvPr/>
        </p:nvGrpSpPr>
        <p:grpSpPr>
          <a:xfrm>
            <a:off x="4062095" y="1971675"/>
            <a:ext cx="1238250" cy="2279015"/>
            <a:chOff x="5876" y="2562"/>
            <a:chExt cx="1950" cy="3589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050" y="2562"/>
              <a:ext cx="1776" cy="1916"/>
            </a:xfrm>
            <a:prstGeom prst="rect">
              <a:avLst/>
            </a:prstGeom>
          </p:spPr>
        </p:pic>
        <p:pic>
          <p:nvPicPr>
            <p:cNvPr id="34" name="图片 3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76" y="4649"/>
              <a:ext cx="1435" cy="1503"/>
            </a:xfrm>
            <a:prstGeom prst="rect">
              <a:avLst/>
            </a:prstGeom>
          </p:spPr>
        </p:pic>
      </p:grpSp>
      <p:grpSp>
        <p:nvGrpSpPr>
          <p:cNvPr id="35" name="组合 34"/>
          <p:cNvGrpSpPr/>
          <p:nvPr/>
        </p:nvGrpSpPr>
        <p:grpSpPr>
          <a:xfrm>
            <a:off x="9007475" y="2082165"/>
            <a:ext cx="1494790" cy="3488055"/>
            <a:chOff x="14185" y="3279"/>
            <a:chExt cx="2354" cy="5493"/>
          </a:xfrm>
        </p:grpSpPr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185" y="3279"/>
              <a:ext cx="2355" cy="4589"/>
            </a:xfrm>
            <a:prstGeom prst="rect">
              <a:avLst/>
            </a:prstGeom>
          </p:spPr>
        </p:pic>
        <p:sp>
          <p:nvSpPr>
            <p:cNvPr id="37" name="文本框 36"/>
            <p:cNvSpPr txBox="1"/>
            <p:nvPr/>
          </p:nvSpPr>
          <p:spPr>
            <a:xfrm>
              <a:off x="14859" y="8192"/>
              <a:ext cx="100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小飞</a:t>
              </a:r>
              <a:endParaRPr lang="zh-CN" altLang="en-US"/>
            </a:p>
          </p:txBody>
        </p:sp>
      </p:grpSp>
      <p:sp>
        <p:nvSpPr>
          <p:cNvPr id="39" name="矩形 38"/>
          <p:cNvSpPr/>
          <p:nvPr/>
        </p:nvSpPr>
        <p:spPr>
          <a:xfrm>
            <a:off x="5574665" y="2706370"/>
            <a:ext cx="2319655" cy="1445260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p>
            <a:pPr algn="ctr"/>
            <a:r>
              <a:rPr lang="en-US" altLang="zh-CN" sz="8800" b="1">
                <a:ln w="25400" cmpd="sng">
                  <a:solidFill>
                    <a:srgbClr val="FAFCB7">
                      <a:alpha val="98000"/>
                    </a:srgbClr>
                  </a:solidFill>
                  <a:prstDash val="solid"/>
                </a:ln>
                <a:blipFill>
                  <a:blip r:embed="rId6">
                    <a:alphaModFix amt="63000"/>
                  </a:blip>
                  <a:tile ty="-38100" sx="7000" flip="xy" algn="tl"/>
                </a:blipFill>
                <a:effectLst>
                  <a:innerShdw dist="38100" dir="18900000">
                    <a:srgbClr val="F89D26">
                      <a:alpha val="100000"/>
                    </a:srgbClr>
                  </a:innerShdw>
                  <a:reflection blurRad="6350" stA="50000" endA="300" endPos="50000" dist="12700" dir="5400000" sy="-100000" algn="bl" rotWithShape="0"/>
                </a:effectLst>
              </a:rPr>
              <a:t>PK</a:t>
            </a:r>
            <a:endParaRPr lang="en-US" altLang="zh-CN" sz="8800" b="1">
              <a:ln w="25400" cmpd="sng">
                <a:solidFill>
                  <a:srgbClr val="FAFCB7">
                    <a:alpha val="98000"/>
                  </a:srgbClr>
                </a:solidFill>
                <a:prstDash val="solid"/>
              </a:ln>
              <a:blipFill>
                <a:blip r:embed="rId6">
                  <a:alphaModFix amt="63000"/>
                </a:blip>
                <a:tile ty="-38100" sx="7000" flip="xy" algn="tl"/>
              </a:blipFill>
              <a:effectLst>
                <a:innerShdw dist="38100" dir="18900000">
                  <a:srgbClr val="F89D26">
                    <a:alpha val="100000"/>
                  </a:srgbClr>
                </a:innerShdw>
                <a:reflection blurRad="6350" stA="50000" endA="300" endPos="50000" dist="12700" dir="5400000" sy="-100000" algn="bl" rotWithShape="0"/>
              </a:effectLst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4172585" y="5570220"/>
            <a:ext cx="44500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3600"/>
              <a:t>竞争进入白热化</a:t>
            </a:r>
            <a:r>
              <a:rPr lang="en-US" altLang="zh-CN" sz="3600"/>
              <a:t>~~~~</a:t>
            </a:r>
            <a:endParaRPr lang="en-US" altLang="zh-CN" sz="3600"/>
          </a:p>
        </p:txBody>
      </p:sp>
      <p:pic>
        <p:nvPicPr>
          <p:cNvPr id="41" name="图片 4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380000">
            <a:off x="5978525" y="72390"/>
            <a:ext cx="1581785" cy="20294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Par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2000" fill="hold"/>
                                        <p:tgtEl>
                                          <p:spTgt spid="3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39" grpId="1"/>
      <p:bldP spid="4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方法</a:t>
            </a:r>
            <a:endParaRPr lang="zh-CN" altLang="en-US" dirty="0"/>
          </a:p>
        </p:txBody>
      </p:sp>
      <p:grpSp>
        <p:nvGrpSpPr>
          <p:cNvPr id="5" name="192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376295" y="3890010"/>
            <a:ext cx="5864860" cy="2548890"/>
            <a:chOff x="1409065" y="1288293"/>
            <a:chExt cx="10109835" cy="4393646"/>
          </a:xfrm>
        </p:grpSpPr>
        <p:grpSp>
          <p:nvGrpSpPr>
            <p:cNvPr id="6" name="iṥlíḓé"/>
            <p:cNvGrpSpPr/>
            <p:nvPr/>
          </p:nvGrpSpPr>
          <p:grpSpPr>
            <a:xfrm>
              <a:off x="4924423" y="2073100"/>
              <a:ext cx="2343149" cy="3409535"/>
              <a:chOff x="4748744" y="1457816"/>
              <a:chExt cx="2709330" cy="3942368"/>
            </a:xfrm>
          </p:grpSpPr>
          <p:sp>
            <p:nvSpPr>
              <p:cNvPr id="38" name="îŝļïďê"/>
              <p:cNvSpPr/>
              <p:nvPr/>
            </p:nvSpPr>
            <p:spPr>
              <a:xfrm>
                <a:off x="5610225" y="4518053"/>
                <a:ext cx="986367" cy="8821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62" y="0"/>
                    </a:moveTo>
                    <a:cubicBezTo>
                      <a:pt x="789" y="0"/>
                      <a:pt x="0" y="971"/>
                      <a:pt x="0" y="2173"/>
                    </a:cubicBezTo>
                    <a:cubicBezTo>
                      <a:pt x="0" y="3375"/>
                      <a:pt x="789" y="4346"/>
                      <a:pt x="1762" y="4346"/>
                    </a:cubicBezTo>
                    <a:lnTo>
                      <a:pt x="19844" y="4346"/>
                    </a:lnTo>
                    <a:cubicBezTo>
                      <a:pt x="20816" y="4346"/>
                      <a:pt x="21600" y="3375"/>
                      <a:pt x="21600" y="2173"/>
                    </a:cubicBezTo>
                    <a:cubicBezTo>
                      <a:pt x="21600" y="971"/>
                      <a:pt x="20816" y="0"/>
                      <a:pt x="19844" y="0"/>
                    </a:cubicBezTo>
                    <a:lnTo>
                      <a:pt x="1762" y="0"/>
                    </a:lnTo>
                    <a:close/>
                    <a:moveTo>
                      <a:pt x="1762" y="5941"/>
                    </a:moveTo>
                    <a:cubicBezTo>
                      <a:pt x="789" y="5941"/>
                      <a:pt x="0" y="6911"/>
                      <a:pt x="0" y="8114"/>
                    </a:cubicBezTo>
                    <a:cubicBezTo>
                      <a:pt x="0" y="9316"/>
                      <a:pt x="789" y="10295"/>
                      <a:pt x="1762" y="10295"/>
                    </a:cubicBezTo>
                    <a:lnTo>
                      <a:pt x="19844" y="10295"/>
                    </a:lnTo>
                    <a:cubicBezTo>
                      <a:pt x="20816" y="10295"/>
                      <a:pt x="21600" y="9316"/>
                      <a:pt x="21600" y="8114"/>
                    </a:cubicBezTo>
                    <a:cubicBezTo>
                      <a:pt x="21600" y="6911"/>
                      <a:pt x="20816" y="5941"/>
                      <a:pt x="19844" y="5941"/>
                    </a:cubicBezTo>
                    <a:lnTo>
                      <a:pt x="1762" y="5941"/>
                    </a:lnTo>
                    <a:close/>
                    <a:moveTo>
                      <a:pt x="2935" y="11890"/>
                    </a:moveTo>
                    <a:cubicBezTo>
                      <a:pt x="2935" y="17257"/>
                      <a:pt x="6463" y="21600"/>
                      <a:pt x="10806" y="21600"/>
                    </a:cubicBezTo>
                    <a:cubicBezTo>
                      <a:pt x="15149" y="21600"/>
                      <a:pt x="18665" y="17257"/>
                      <a:pt x="18665" y="11890"/>
                    </a:cubicBezTo>
                    <a:lnTo>
                      <a:pt x="2935" y="1189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</a:p>
            </p:txBody>
          </p:sp>
          <p:sp>
            <p:nvSpPr>
              <p:cNvPr id="39" name="ïṣḷiḑé"/>
              <p:cNvSpPr/>
              <p:nvPr/>
            </p:nvSpPr>
            <p:spPr>
              <a:xfrm rot="10800000" flipH="1">
                <a:off x="4748744" y="1457816"/>
                <a:ext cx="2709330" cy="29275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99" h="21600" extrusionOk="0">
                    <a:moveTo>
                      <a:pt x="7049" y="0"/>
                    </a:moveTo>
                    <a:cubicBezTo>
                      <a:pt x="6119" y="0"/>
                      <a:pt x="5347" y="496"/>
                      <a:pt x="4884" y="1296"/>
                    </a:cubicBezTo>
                    <a:cubicBezTo>
                      <a:pt x="4879" y="1304"/>
                      <a:pt x="4873" y="1309"/>
                      <a:pt x="4868" y="1317"/>
                    </a:cubicBezTo>
                    <a:cubicBezTo>
                      <a:pt x="4579" y="1826"/>
                      <a:pt x="4414" y="2458"/>
                      <a:pt x="4414" y="3163"/>
                    </a:cubicBezTo>
                    <a:cubicBezTo>
                      <a:pt x="4414" y="4287"/>
                      <a:pt x="4946" y="5167"/>
                      <a:pt x="5927" y="5792"/>
                    </a:cubicBezTo>
                    <a:cubicBezTo>
                      <a:pt x="6617" y="6233"/>
                      <a:pt x="7467" y="6205"/>
                      <a:pt x="8458" y="5707"/>
                    </a:cubicBezTo>
                    <a:cubicBezTo>
                      <a:pt x="8616" y="5627"/>
                      <a:pt x="8806" y="5692"/>
                      <a:pt x="8884" y="5853"/>
                    </a:cubicBezTo>
                    <a:cubicBezTo>
                      <a:pt x="8961" y="6015"/>
                      <a:pt x="8898" y="6210"/>
                      <a:pt x="8740" y="6290"/>
                    </a:cubicBezTo>
                    <a:cubicBezTo>
                      <a:pt x="7244" y="7042"/>
                      <a:pt x="6200" y="6737"/>
                      <a:pt x="5588" y="6347"/>
                    </a:cubicBezTo>
                    <a:cubicBezTo>
                      <a:pt x="4260" y="5500"/>
                      <a:pt x="3777" y="4241"/>
                      <a:pt x="3777" y="3163"/>
                    </a:cubicBezTo>
                    <a:cubicBezTo>
                      <a:pt x="3777" y="2561"/>
                      <a:pt x="3881" y="2004"/>
                      <a:pt x="4068" y="1512"/>
                    </a:cubicBezTo>
                    <a:cubicBezTo>
                      <a:pt x="2816" y="1773"/>
                      <a:pt x="1899" y="2928"/>
                      <a:pt x="1899" y="4353"/>
                    </a:cubicBezTo>
                    <a:cubicBezTo>
                      <a:pt x="1899" y="4842"/>
                      <a:pt x="1943" y="4968"/>
                      <a:pt x="2050" y="5275"/>
                    </a:cubicBezTo>
                    <a:cubicBezTo>
                      <a:pt x="2074" y="5342"/>
                      <a:pt x="2101" y="5418"/>
                      <a:pt x="2130" y="5503"/>
                    </a:cubicBezTo>
                    <a:cubicBezTo>
                      <a:pt x="2186" y="5673"/>
                      <a:pt x="2093" y="5857"/>
                      <a:pt x="1927" y="5915"/>
                    </a:cubicBezTo>
                    <a:cubicBezTo>
                      <a:pt x="1893" y="5926"/>
                      <a:pt x="1861" y="5935"/>
                      <a:pt x="1827" y="5935"/>
                    </a:cubicBezTo>
                    <a:cubicBezTo>
                      <a:pt x="1694" y="5935"/>
                      <a:pt x="1570" y="5847"/>
                      <a:pt x="1525" y="5711"/>
                    </a:cubicBezTo>
                    <a:cubicBezTo>
                      <a:pt x="1498" y="5630"/>
                      <a:pt x="1471" y="5559"/>
                      <a:pt x="1449" y="5495"/>
                    </a:cubicBezTo>
                    <a:cubicBezTo>
                      <a:pt x="1402" y="5361"/>
                      <a:pt x="1367" y="5252"/>
                      <a:pt x="1338" y="5136"/>
                    </a:cubicBezTo>
                    <a:cubicBezTo>
                      <a:pt x="965" y="5547"/>
                      <a:pt x="725" y="6087"/>
                      <a:pt x="645" y="7023"/>
                    </a:cubicBezTo>
                    <a:cubicBezTo>
                      <a:pt x="1242" y="6525"/>
                      <a:pt x="2001" y="6224"/>
                      <a:pt x="2830" y="6224"/>
                    </a:cubicBezTo>
                    <a:cubicBezTo>
                      <a:pt x="2831" y="6224"/>
                      <a:pt x="2834" y="6224"/>
                      <a:pt x="2834" y="6224"/>
                    </a:cubicBezTo>
                    <a:cubicBezTo>
                      <a:pt x="3606" y="6224"/>
                      <a:pt x="4337" y="6477"/>
                      <a:pt x="4947" y="6958"/>
                    </a:cubicBezTo>
                    <a:cubicBezTo>
                      <a:pt x="5087" y="7068"/>
                      <a:pt x="5111" y="7276"/>
                      <a:pt x="5003" y="7419"/>
                    </a:cubicBezTo>
                    <a:cubicBezTo>
                      <a:pt x="4896" y="7562"/>
                      <a:pt x="4697" y="7586"/>
                      <a:pt x="4557" y="7476"/>
                    </a:cubicBezTo>
                    <a:cubicBezTo>
                      <a:pt x="4059" y="7083"/>
                      <a:pt x="3461" y="6877"/>
                      <a:pt x="2830" y="6877"/>
                    </a:cubicBezTo>
                    <a:cubicBezTo>
                      <a:pt x="1269" y="6877"/>
                      <a:pt x="0" y="8176"/>
                      <a:pt x="0" y="9775"/>
                    </a:cubicBezTo>
                    <a:cubicBezTo>
                      <a:pt x="0" y="10440"/>
                      <a:pt x="216" y="11066"/>
                      <a:pt x="621" y="11585"/>
                    </a:cubicBezTo>
                    <a:cubicBezTo>
                      <a:pt x="626" y="11591"/>
                      <a:pt x="629" y="11599"/>
                      <a:pt x="633" y="11605"/>
                    </a:cubicBezTo>
                    <a:cubicBezTo>
                      <a:pt x="640" y="11616"/>
                      <a:pt x="647" y="11626"/>
                      <a:pt x="653" y="11638"/>
                    </a:cubicBezTo>
                    <a:cubicBezTo>
                      <a:pt x="658" y="11647"/>
                      <a:pt x="661" y="11657"/>
                      <a:pt x="665" y="11666"/>
                    </a:cubicBezTo>
                    <a:cubicBezTo>
                      <a:pt x="669" y="11676"/>
                      <a:pt x="674" y="11684"/>
                      <a:pt x="677" y="11695"/>
                    </a:cubicBezTo>
                    <a:cubicBezTo>
                      <a:pt x="680" y="11705"/>
                      <a:pt x="679" y="11713"/>
                      <a:pt x="681" y="11723"/>
                    </a:cubicBezTo>
                    <a:cubicBezTo>
                      <a:pt x="683" y="11734"/>
                      <a:pt x="688" y="11745"/>
                      <a:pt x="689" y="11756"/>
                    </a:cubicBezTo>
                    <a:cubicBezTo>
                      <a:pt x="690" y="11766"/>
                      <a:pt x="689" y="11778"/>
                      <a:pt x="689" y="11788"/>
                    </a:cubicBezTo>
                    <a:cubicBezTo>
                      <a:pt x="689" y="11799"/>
                      <a:pt x="690" y="11810"/>
                      <a:pt x="689" y="11821"/>
                    </a:cubicBezTo>
                    <a:cubicBezTo>
                      <a:pt x="688" y="11834"/>
                      <a:pt x="683" y="11845"/>
                      <a:pt x="681" y="11858"/>
                    </a:cubicBezTo>
                    <a:cubicBezTo>
                      <a:pt x="679" y="11865"/>
                      <a:pt x="679" y="11871"/>
                      <a:pt x="677" y="11878"/>
                    </a:cubicBezTo>
                    <a:lnTo>
                      <a:pt x="669" y="11907"/>
                    </a:lnTo>
                    <a:cubicBezTo>
                      <a:pt x="595" y="12167"/>
                      <a:pt x="546" y="12341"/>
                      <a:pt x="546" y="12596"/>
                    </a:cubicBezTo>
                    <a:cubicBezTo>
                      <a:pt x="546" y="13181"/>
                      <a:pt x="753" y="13727"/>
                      <a:pt x="1174" y="14255"/>
                    </a:cubicBezTo>
                    <a:cubicBezTo>
                      <a:pt x="1331" y="13954"/>
                      <a:pt x="1541" y="13684"/>
                      <a:pt x="1799" y="13456"/>
                    </a:cubicBezTo>
                    <a:cubicBezTo>
                      <a:pt x="2333" y="12983"/>
                      <a:pt x="3324" y="12473"/>
                      <a:pt x="5027" y="12726"/>
                    </a:cubicBezTo>
                    <a:cubicBezTo>
                      <a:pt x="5201" y="12752"/>
                      <a:pt x="5323" y="12919"/>
                      <a:pt x="5298" y="13097"/>
                    </a:cubicBezTo>
                    <a:cubicBezTo>
                      <a:pt x="5272" y="13275"/>
                      <a:pt x="5110" y="13397"/>
                      <a:pt x="4936" y="13370"/>
                    </a:cubicBezTo>
                    <a:cubicBezTo>
                      <a:pt x="3776" y="13197"/>
                      <a:pt x="2838" y="13399"/>
                      <a:pt x="2217" y="13949"/>
                    </a:cubicBezTo>
                    <a:cubicBezTo>
                      <a:pt x="1740" y="14371"/>
                      <a:pt x="1477" y="14979"/>
                      <a:pt x="1477" y="15665"/>
                    </a:cubicBezTo>
                    <a:cubicBezTo>
                      <a:pt x="1477" y="16627"/>
                      <a:pt x="2368" y="17561"/>
                      <a:pt x="3204" y="17952"/>
                    </a:cubicBezTo>
                    <a:cubicBezTo>
                      <a:pt x="3207" y="17953"/>
                      <a:pt x="3206" y="17955"/>
                      <a:pt x="3208" y="17956"/>
                    </a:cubicBezTo>
                    <a:cubicBezTo>
                      <a:pt x="3218" y="17961"/>
                      <a:pt x="3227" y="17966"/>
                      <a:pt x="3236" y="17972"/>
                    </a:cubicBezTo>
                    <a:cubicBezTo>
                      <a:pt x="3245" y="17978"/>
                      <a:pt x="3256" y="17982"/>
                      <a:pt x="3264" y="17988"/>
                    </a:cubicBezTo>
                    <a:cubicBezTo>
                      <a:pt x="3272" y="17995"/>
                      <a:pt x="3280" y="18002"/>
                      <a:pt x="3288" y="18009"/>
                    </a:cubicBezTo>
                    <a:cubicBezTo>
                      <a:pt x="3295" y="18016"/>
                      <a:pt x="3301" y="18026"/>
                      <a:pt x="3308" y="18033"/>
                    </a:cubicBezTo>
                    <a:cubicBezTo>
                      <a:pt x="3314" y="18041"/>
                      <a:pt x="3322" y="18049"/>
                      <a:pt x="3328" y="18058"/>
                    </a:cubicBezTo>
                    <a:cubicBezTo>
                      <a:pt x="3334" y="18067"/>
                      <a:pt x="3338" y="18073"/>
                      <a:pt x="3344" y="18082"/>
                    </a:cubicBezTo>
                    <a:cubicBezTo>
                      <a:pt x="3348" y="18090"/>
                      <a:pt x="3352" y="18102"/>
                      <a:pt x="3355" y="18111"/>
                    </a:cubicBezTo>
                    <a:cubicBezTo>
                      <a:pt x="3361" y="18122"/>
                      <a:pt x="3368" y="18132"/>
                      <a:pt x="3371" y="18143"/>
                    </a:cubicBezTo>
                    <a:cubicBezTo>
                      <a:pt x="3372" y="18146"/>
                      <a:pt x="3375" y="18145"/>
                      <a:pt x="3375" y="18147"/>
                    </a:cubicBezTo>
                    <a:cubicBezTo>
                      <a:pt x="3781" y="19429"/>
                      <a:pt x="4378" y="19894"/>
                      <a:pt x="5827" y="19961"/>
                    </a:cubicBezTo>
                    <a:cubicBezTo>
                      <a:pt x="5800" y="19794"/>
                      <a:pt x="5783" y="19625"/>
                      <a:pt x="5783" y="19452"/>
                    </a:cubicBezTo>
                    <a:cubicBezTo>
                      <a:pt x="5783" y="17906"/>
                      <a:pt x="6913" y="16647"/>
                      <a:pt x="8299" y="16647"/>
                    </a:cubicBezTo>
                    <a:cubicBezTo>
                      <a:pt x="8400" y="16647"/>
                      <a:pt x="8501" y="16655"/>
                      <a:pt x="8601" y="16668"/>
                    </a:cubicBezTo>
                    <a:cubicBezTo>
                      <a:pt x="8775" y="16691"/>
                      <a:pt x="8898" y="16852"/>
                      <a:pt x="8876" y="17031"/>
                    </a:cubicBezTo>
                    <a:cubicBezTo>
                      <a:pt x="8853" y="17209"/>
                      <a:pt x="8694" y="17334"/>
                      <a:pt x="8517" y="17312"/>
                    </a:cubicBezTo>
                    <a:cubicBezTo>
                      <a:pt x="8445" y="17302"/>
                      <a:pt x="8373" y="17300"/>
                      <a:pt x="8299" y="17300"/>
                    </a:cubicBezTo>
                    <a:cubicBezTo>
                      <a:pt x="7264" y="17300"/>
                      <a:pt x="6420" y="18266"/>
                      <a:pt x="6420" y="19452"/>
                    </a:cubicBezTo>
                    <a:cubicBezTo>
                      <a:pt x="6420" y="19914"/>
                      <a:pt x="6548" y="20352"/>
                      <a:pt x="6786" y="20724"/>
                    </a:cubicBezTo>
                    <a:cubicBezTo>
                      <a:pt x="7139" y="21274"/>
                      <a:pt x="7704" y="21600"/>
                      <a:pt x="8299" y="21600"/>
                    </a:cubicBezTo>
                    <a:cubicBezTo>
                      <a:pt x="9392" y="21600"/>
                      <a:pt x="9883" y="20523"/>
                      <a:pt x="9883" y="19452"/>
                    </a:cubicBezTo>
                    <a:cubicBezTo>
                      <a:pt x="9883" y="19412"/>
                      <a:pt x="9881" y="17747"/>
                      <a:pt x="9879" y="15473"/>
                    </a:cubicBezTo>
                    <a:cubicBezTo>
                      <a:pt x="9879" y="15473"/>
                      <a:pt x="9879" y="15470"/>
                      <a:pt x="9879" y="15469"/>
                    </a:cubicBezTo>
                    <a:cubicBezTo>
                      <a:pt x="9876" y="12424"/>
                      <a:pt x="7611" y="10215"/>
                      <a:pt x="4494" y="10215"/>
                    </a:cubicBezTo>
                    <a:cubicBezTo>
                      <a:pt x="3556" y="10215"/>
                      <a:pt x="2628" y="10446"/>
                      <a:pt x="1811" y="10879"/>
                    </a:cubicBezTo>
                    <a:cubicBezTo>
                      <a:pt x="1655" y="10962"/>
                      <a:pt x="1462" y="10897"/>
                      <a:pt x="1381" y="10737"/>
                    </a:cubicBezTo>
                    <a:cubicBezTo>
                      <a:pt x="1301" y="10577"/>
                      <a:pt x="1361" y="10384"/>
                      <a:pt x="1517" y="10301"/>
                    </a:cubicBezTo>
                    <a:cubicBezTo>
                      <a:pt x="2424" y="9819"/>
                      <a:pt x="3454" y="9563"/>
                      <a:pt x="4494" y="9563"/>
                    </a:cubicBezTo>
                    <a:cubicBezTo>
                      <a:pt x="6939" y="9563"/>
                      <a:pt x="8911" y="10787"/>
                      <a:pt x="9875" y="12697"/>
                    </a:cubicBezTo>
                    <a:cubicBezTo>
                      <a:pt x="9870" y="9079"/>
                      <a:pt x="9863" y="5013"/>
                      <a:pt x="9855" y="3273"/>
                    </a:cubicBezTo>
                    <a:lnTo>
                      <a:pt x="9855" y="3167"/>
                    </a:lnTo>
                    <a:cubicBezTo>
                      <a:pt x="9854" y="2675"/>
                      <a:pt x="9853" y="2117"/>
                      <a:pt x="9524" y="1492"/>
                    </a:cubicBezTo>
                    <a:cubicBezTo>
                      <a:pt x="9040" y="571"/>
                      <a:pt x="8091" y="0"/>
                      <a:pt x="7049" y="0"/>
                    </a:cubicBezTo>
                    <a:close/>
                    <a:moveTo>
                      <a:pt x="14547" y="0"/>
                    </a:moveTo>
                    <a:cubicBezTo>
                      <a:pt x="13505" y="0"/>
                      <a:pt x="12556" y="571"/>
                      <a:pt x="12072" y="1492"/>
                    </a:cubicBezTo>
                    <a:cubicBezTo>
                      <a:pt x="11743" y="2117"/>
                      <a:pt x="11746" y="2675"/>
                      <a:pt x="11745" y="3167"/>
                    </a:cubicBezTo>
                    <a:lnTo>
                      <a:pt x="11741" y="3273"/>
                    </a:lnTo>
                    <a:cubicBezTo>
                      <a:pt x="11733" y="5013"/>
                      <a:pt x="11730" y="9079"/>
                      <a:pt x="11725" y="12697"/>
                    </a:cubicBezTo>
                    <a:cubicBezTo>
                      <a:pt x="12689" y="10787"/>
                      <a:pt x="14661" y="9563"/>
                      <a:pt x="17106" y="9563"/>
                    </a:cubicBezTo>
                    <a:cubicBezTo>
                      <a:pt x="18146" y="9563"/>
                      <a:pt x="19176" y="9819"/>
                      <a:pt x="20083" y="10301"/>
                    </a:cubicBezTo>
                    <a:cubicBezTo>
                      <a:pt x="20239" y="10384"/>
                      <a:pt x="20299" y="10577"/>
                      <a:pt x="20219" y="10737"/>
                    </a:cubicBezTo>
                    <a:cubicBezTo>
                      <a:pt x="20138" y="10897"/>
                      <a:pt x="19945" y="10962"/>
                      <a:pt x="19789" y="10879"/>
                    </a:cubicBezTo>
                    <a:cubicBezTo>
                      <a:pt x="18972" y="10446"/>
                      <a:pt x="18044" y="10215"/>
                      <a:pt x="17106" y="10215"/>
                    </a:cubicBezTo>
                    <a:cubicBezTo>
                      <a:pt x="13989" y="10215"/>
                      <a:pt x="11724" y="12424"/>
                      <a:pt x="11721" y="15469"/>
                    </a:cubicBezTo>
                    <a:cubicBezTo>
                      <a:pt x="11721" y="15470"/>
                      <a:pt x="11721" y="15473"/>
                      <a:pt x="11721" y="15473"/>
                    </a:cubicBezTo>
                    <a:cubicBezTo>
                      <a:pt x="11719" y="17747"/>
                      <a:pt x="11717" y="19412"/>
                      <a:pt x="11717" y="19452"/>
                    </a:cubicBezTo>
                    <a:cubicBezTo>
                      <a:pt x="11717" y="20523"/>
                      <a:pt x="12208" y="21600"/>
                      <a:pt x="13301" y="21600"/>
                    </a:cubicBezTo>
                    <a:cubicBezTo>
                      <a:pt x="13896" y="21600"/>
                      <a:pt x="14461" y="21274"/>
                      <a:pt x="14814" y="20724"/>
                    </a:cubicBezTo>
                    <a:cubicBezTo>
                      <a:pt x="15052" y="20352"/>
                      <a:pt x="15176" y="19914"/>
                      <a:pt x="15176" y="19452"/>
                    </a:cubicBezTo>
                    <a:cubicBezTo>
                      <a:pt x="15176" y="18266"/>
                      <a:pt x="14336" y="17300"/>
                      <a:pt x="13301" y="17300"/>
                    </a:cubicBezTo>
                    <a:cubicBezTo>
                      <a:pt x="13227" y="17300"/>
                      <a:pt x="13151" y="17302"/>
                      <a:pt x="13079" y="17312"/>
                    </a:cubicBezTo>
                    <a:cubicBezTo>
                      <a:pt x="12902" y="17334"/>
                      <a:pt x="12747" y="17209"/>
                      <a:pt x="12724" y="17031"/>
                    </a:cubicBezTo>
                    <a:cubicBezTo>
                      <a:pt x="12702" y="16852"/>
                      <a:pt x="12825" y="16691"/>
                      <a:pt x="12999" y="16668"/>
                    </a:cubicBezTo>
                    <a:cubicBezTo>
                      <a:pt x="13099" y="16655"/>
                      <a:pt x="13200" y="16647"/>
                      <a:pt x="13301" y="16647"/>
                    </a:cubicBezTo>
                    <a:cubicBezTo>
                      <a:pt x="14687" y="16647"/>
                      <a:pt x="15813" y="17906"/>
                      <a:pt x="15813" y="19452"/>
                    </a:cubicBezTo>
                    <a:cubicBezTo>
                      <a:pt x="15813" y="19625"/>
                      <a:pt x="15800" y="19794"/>
                      <a:pt x="15773" y="19961"/>
                    </a:cubicBezTo>
                    <a:cubicBezTo>
                      <a:pt x="17222" y="19894"/>
                      <a:pt x="17819" y="19429"/>
                      <a:pt x="18225" y="18147"/>
                    </a:cubicBezTo>
                    <a:cubicBezTo>
                      <a:pt x="18225" y="18145"/>
                      <a:pt x="18228" y="18146"/>
                      <a:pt x="18229" y="18143"/>
                    </a:cubicBezTo>
                    <a:cubicBezTo>
                      <a:pt x="18232" y="18132"/>
                      <a:pt x="18235" y="18122"/>
                      <a:pt x="18241" y="18111"/>
                    </a:cubicBezTo>
                    <a:cubicBezTo>
                      <a:pt x="18245" y="18102"/>
                      <a:pt x="18248" y="18090"/>
                      <a:pt x="18252" y="18082"/>
                    </a:cubicBezTo>
                    <a:cubicBezTo>
                      <a:pt x="18258" y="18073"/>
                      <a:pt x="18266" y="18067"/>
                      <a:pt x="18272" y="18058"/>
                    </a:cubicBezTo>
                    <a:cubicBezTo>
                      <a:pt x="18278" y="18049"/>
                      <a:pt x="18286" y="18041"/>
                      <a:pt x="18292" y="18033"/>
                    </a:cubicBezTo>
                    <a:cubicBezTo>
                      <a:pt x="18299" y="18026"/>
                      <a:pt x="18305" y="18016"/>
                      <a:pt x="18312" y="18009"/>
                    </a:cubicBezTo>
                    <a:cubicBezTo>
                      <a:pt x="18320" y="18002"/>
                      <a:pt x="18328" y="17995"/>
                      <a:pt x="18336" y="17988"/>
                    </a:cubicBezTo>
                    <a:cubicBezTo>
                      <a:pt x="18344" y="17982"/>
                      <a:pt x="18351" y="17978"/>
                      <a:pt x="18360" y="17972"/>
                    </a:cubicBezTo>
                    <a:cubicBezTo>
                      <a:pt x="18369" y="17966"/>
                      <a:pt x="18378" y="17961"/>
                      <a:pt x="18388" y="17956"/>
                    </a:cubicBezTo>
                    <a:cubicBezTo>
                      <a:pt x="18390" y="17955"/>
                      <a:pt x="18393" y="17953"/>
                      <a:pt x="18396" y="17952"/>
                    </a:cubicBezTo>
                    <a:cubicBezTo>
                      <a:pt x="19232" y="17561"/>
                      <a:pt x="20123" y="16627"/>
                      <a:pt x="20123" y="15665"/>
                    </a:cubicBezTo>
                    <a:cubicBezTo>
                      <a:pt x="20123" y="14979"/>
                      <a:pt x="19860" y="14371"/>
                      <a:pt x="19383" y="13949"/>
                    </a:cubicBezTo>
                    <a:cubicBezTo>
                      <a:pt x="18762" y="13399"/>
                      <a:pt x="17820" y="13197"/>
                      <a:pt x="16660" y="13370"/>
                    </a:cubicBezTo>
                    <a:cubicBezTo>
                      <a:pt x="16486" y="13397"/>
                      <a:pt x="16328" y="13275"/>
                      <a:pt x="16302" y="13097"/>
                    </a:cubicBezTo>
                    <a:cubicBezTo>
                      <a:pt x="16277" y="12919"/>
                      <a:pt x="16395" y="12752"/>
                      <a:pt x="16569" y="12726"/>
                    </a:cubicBezTo>
                    <a:cubicBezTo>
                      <a:pt x="18272" y="12473"/>
                      <a:pt x="19264" y="12983"/>
                      <a:pt x="19797" y="13456"/>
                    </a:cubicBezTo>
                    <a:cubicBezTo>
                      <a:pt x="20055" y="13684"/>
                      <a:pt x="20265" y="13954"/>
                      <a:pt x="20422" y="14255"/>
                    </a:cubicBezTo>
                    <a:cubicBezTo>
                      <a:pt x="20843" y="13727"/>
                      <a:pt x="21050" y="13181"/>
                      <a:pt x="21050" y="12596"/>
                    </a:cubicBezTo>
                    <a:cubicBezTo>
                      <a:pt x="21050" y="12341"/>
                      <a:pt x="21005" y="12167"/>
                      <a:pt x="20931" y="11907"/>
                    </a:cubicBezTo>
                    <a:lnTo>
                      <a:pt x="20923" y="11878"/>
                    </a:lnTo>
                    <a:cubicBezTo>
                      <a:pt x="20921" y="11871"/>
                      <a:pt x="20921" y="11865"/>
                      <a:pt x="20919" y="11858"/>
                    </a:cubicBezTo>
                    <a:cubicBezTo>
                      <a:pt x="20917" y="11845"/>
                      <a:pt x="20912" y="11834"/>
                      <a:pt x="20911" y="11821"/>
                    </a:cubicBezTo>
                    <a:cubicBezTo>
                      <a:pt x="20910" y="11810"/>
                      <a:pt x="20911" y="11799"/>
                      <a:pt x="20911" y="11788"/>
                    </a:cubicBezTo>
                    <a:cubicBezTo>
                      <a:pt x="20911" y="11778"/>
                      <a:pt x="20910" y="11766"/>
                      <a:pt x="20911" y="11756"/>
                    </a:cubicBezTo>
                    <a:cubicBezTo>
                      <a:pt x="20912" y="11745"/>
                      <a:pt x="20913" y="11734"/>
                      <a:pt x="20915" y="11723"/>
                    </a:cubicBezTo>
                    <a:cubicBezTo>
                      <a:pt x="20917" y="11713"/>
                      <a:pt x="20920" y="11705"/>
                      <a:pt x="20923" y="11695"/>
                    </a:cubicBezTo>
                    <a:cubicBezTo>
                      <a:pt x="20926" y="11684"/>
                      <a:pt x="20931" y="11676"/>
                      <a:pt x="20935" y="11666"/>
                    </a:cubicBezTo>
                    <a:cubicBezTo>
                      <a:pt x="20939" y="11657"/>
                      <a:pt x="20942" y="11647"/>
                      <a:pt x="20947" y="11638"/>
                    </a:cubicBezTo>
                    <a:cubicBezTo>
                      <a:pt x="20953" y="11626"/>
                      <a:pt x="20960" y="11616"/>
                      <a:pt x="20967" y="11605"/>
                    </a:cubicBezTo>
                    <a:cubicBezTo>
                      <a:pt x="20971" y="11599"/>
                      <a:pt x="20974" y="11591"/>
                      <a:pt x="20979" y="11585"/>
                    </a:cubicBezTo>
                    <a:cubicBezTo>
                      <a:pt x="21384" y="11066"/>
                      <a:pt x="21600" y="10440"/>
                      <a:pt x="21600" y="9775"/>
                    </a:cubicBezTo>
                    <a:cubicBezTo>
                      <a:pt x="21600" y="8176"/>
                      <a:pt x="20327" y="6877"/>
                      <a:pt x="18766" y="6877"/>
                    </a:cubicBezTo>
                    <a:cubicBezTo>
                      <a:pt x="18135" y="6877"/>
                      <a:pt x="17541" y="7083"/>
                      <a:pt x="17043" y="7476"/>
                    </a:cubicBezTo>
                    <a:cubicBezTo>
                      <a:pt x="16903" y="7586"/>
                      <a:pt x="16700" y="7562"/>
                      <a:pt x="16593" y="7419"/>
                    </a:cubicBezTo>
                    <a:cubicBezTo>
                      <a:pt x="16485" y="7276"/>
                      <a:pt x="16513" y="7068"/>
                      <a:pt x="16653" y="6958"/>
                    </a:cubicBezTo>
                    <a:cubicBezTo>
                      <a:pt x="17263" y="6477"/>
                      <a:pt x="17994" y="6224"/>
                      <a:pt x="18766" y="6224"/>
                    </a:cubicBezTo>
                    <a:cubicBezTo>
                      <a:pt x="19595" y="6224"/>
                      <a:pt x="20358" y="6525"/>
                      <a:pt x="20955" y="7023"/>
                    </a:cubicBezTo>
                    <a:cubicBezTo>
                      <a:pt x="20875" y="6087"/>
                      <a:pt x="20635" y="5547"/>
                      <a:pt x="20262" y="5136"/>
                    </a:cubicBezTo>
                    <a:cubicBezTo>
                      <a:pt x="20233" y="5252"/>
                      <a:pt x="20194" y="5361"/>
                      <a:pt x="20147" y="5495"/>
                    </a:cubicBezTo>
                    <a:cubicBezTo>
                      <a:pt x="20125" y="5559"/>
                      <a:pt x="20102" y="5630"/>
                      <a:pt x="20075" y="5711"/>
                    </a:cubicBezTo>
                    <a:cubicBezTo>
                      <a:pt x="20030" y="5847"/>
                      <a:pt x="19906" y="5935"/>
                      <a:pt x="19773" y="5935"/>
                    </a:cubicBezTo>
                    <a:cubicBezTo>
                      <a:pt x="19739" y="5935"/>
                      <a:pt x="19703" y="5926"/>
                      <a:pt x="19669" y="5915"/>
                    </a:cubicBezTo>
                    <a:cubicBezTo>
                      <a:pt x="19503" y="5857"/>
                      <a:pt x="19414" y="5673"/>
                      <a:pt x="19470" y="5503"/>
                    </a:cubicBezTo>
                    <a:cubicBezTo>
                      <a:pt x="19499" y="5418"/>
                      <a:pt x="19526" y="5342"/>
                      <a:pt x="19550" y="5275"/>
                    </a:cubicBezTo>
                    <a:cubicBezTo>
                      <a:pt x="19657" y="4968"/>
                      <a:pt x="19701" y="4842"/>
                      <a:pt x="19701" y="4353"/>
                    </a:cubicBezTo>
                    <a:cubicBezTo>
                      <a:pt x="19701" y="2928"/>
                      <a:pt x="18784" y="1773"/>
                      <a:pt x="17532" y="1512"/>
                    </a:cubicBezTo>
                    <a:cubicBezTo>
                      <a:pt x="17719" y="2004"/>
                      <a:pt x="17819" y="2561"/>
                      <a:pt x="17819" y="3163"/>
                    </a:cubicBezTo>
                    <a:cubicBezTo>
                      <a:pt x="17819" y="4241"/>
                      <a:pt x="17340" y="5500"/>
                      <a:pt x="16012" y="6347"/>
                    </a:cubicBezTo>
                    <a:cubicBezTo>
                      <a:pt x="15400" y="6737"/>
                      <a:pt x="14356" y="7042"/>
                      <a:pt x="12860" y="6290"/>
                    </a:cubicBezTo>
                    <a:cubicBezTo>
                      <a:pt x="12702" y="6210"/>
                      <a:pt x="12635" y="6015"/>
                      <a:pt x="12712" y="5853"/>
                    </a:cubicBezTo>
                    <a:cubicBezTo>
                      <a:pt x="12790" y="5692"/>
                      <a:pt x="12980" y="5627"/>
                      <a:pt x="13138" y="5707"/>
                    </a:cubicBezTo>
                    <a:cubicBezTo>
                      <a:pt x="14129" y="6205"/>
                      <a:pt x="14983" y="6233"/>
                      <a:pt x="15673" y="5792"/>
                    </a:cubicBezTo>
                    <a:cubicBezTo>
                      <a:pt x="16654" y="5167"/>
                      <a:pt x="17182" y="4287"/>
                      <a:pt x="17182" y="3163"/>
                    </a:cubicBezTo>
                    <a:cubicBezTo>
                      <a:pt x="17182" y="2458"/>
                      <a:pt x="17021" y="1826"/>
                      <a:pt x="16732" y="1317"/>
                    </a:cubicBezTo>
                    <a:cubicBezTo>
                      <a:pt x="16727" y="1309"/>
                      <a:pt x="16721" y="1304"/>
                      <a:pt x="16716" y="1296"/>
                    </a:cubicBezTo>
                    <a:cubicBezTo>
                      <a:pt x="16253" y="496"/>
                      <a:pt x="15477" y="0"/>
                      <a:pt x="14547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</a:p>
            </p:txBody>
          </p:sp>
        </p:grpSp>
        <p:grpSp>
          <p:nvGrpSpPr>
            <p:cNvPr id="7" name="íšlïḍe"/>
            <p:cNvGrpSpPr/>
            <p:nvPr/>
          </p:nvGrpSpPr>
          <p:grpSpPr>
            <a:xfrm>
              <a:off x="1409065" y="1288293"/>
              <a:ext cx="2780600" cy="1441042"/>
              <a:chOff x="1409065" y="365125"/>
              <a:chExt cx="2780600" cy="1441042"/>
            </a:xfrm>
          </p:grpSpPr>
          <p:sp>
            <p:nvSpPr>
              <p:cNvPr id="37" name="iS1iḍe"/>
              <p:cNvSpPr/>
              <p:nvPr/>
            </p:nvSpPr>
            <p:spPr>
              <a:xfrm>
                <a:off x="3971085" y="1526839"/>
                <a:ext cx="218292" cy="279328"/>
              </a:xfrm>
              <a:custGeom>
                <a:avLst/>
                <a:gdLst>
                  <a:gd name="T0" fmla="*/ 202 w 405"/>
                  <a:gd name="T1" fmla="*/ 0 h 519"/>
                  <a:gd name="T2" fmla="*/ 202 w 405"/>
                  <a:gd name="T3" fmla="*/ 117 h 519"/>
                  <a:gd name="T4" fmla="*/ 76 w 405"/>
                  <a:gd name="T5" fmla="*/ 106 h 519"/>
                  <a:gd name="T6" fmla="*/ 76 w 405"/>
                  <a:gd name="T7" fmla="*/ 2 h 519"/>
                  <a:gd name="T8" fmla="*/ 76 w 405"/>
                  <a:gd name="T9" fmla="*/ 106 h 519"/>
                  <a:gd name="T10" fmla="*/ 375 w 405"/>
                  <a:gd name="T11" fmla="*/ 46 h 519"/>
                  <a:gd name="T12" fmla="*/ 284 w 405"/>
                  <a:gd name="T13" fmla="*/ 46 h 519"/>
                  <a:gd name="T14" fmla="*/ 399 w 405"/>
                  <a:gd name="T15" fmla="*/ 126 h 519"/>
                  <a:gd name="T16" fmla="*/ 341 w 405"/>
                  <a:gd name="T17" fmla="*/ 120 h 519"/>
                  <a:gd name="T18" fmla="*/ 348 w 405"/>
                  <a:gd name="T19" fmla="*/ 208 h 519"/>
                  <a:gd name="T20" fmla="*/ 310 w 405"/>
                  <a:gd name="T21" fmla="*/ 208 h 519"/>
                  <a:gd name="T22" fmla="*/ 317 w 405"/>
                  <a:gd name="T23" fmla="*/ 120 h 519"/>
                  <a:gd name="T24" fmla="*/ 273 w 405"/>
                  <a:gd name="T25" fmla="*/ 120 h 519"/>
                  <a:gd name="T26" fmla="*/ 301 w 405"/>
                  <a:gd name="T27" fmla="*/ 155 h 519"/>
                  <a:gd name="T28" fmla="*/ 280 w 405"/>
                  <a:gd name="T29" fmla="*/ 327 h 519"/>
                  <a:gd name="T30" fmla="*/ 307 w 405"/>
                  <a:gd name="T31" fmla="*/ 463 h 519"/>
                  <a:gd name="T32" fmla="*/ 351 w 405"/>
                  <a:gd name="T33" fmla="*/ 463 h 519"/>
                  <a:gd name="T34" fmla="*/ 378 w 405"/>
                  <a:gd name="T35" fmla="*/ 284 h 519"/>
                  <a:gd name="T36" fmla="*/ 403 w 405"/>
                  <a:gd name="T37" fmla="*/ 265 h 519"/>
                  <a:gd name="T38" fmla="*/ 399 w 405"/>
                  <a:gd name="T39" fmla="*/ 126 h 519"/>
                  <a:gd name="T40" fmla="*/ 104 w 405"/>
                  <a:gd name="T41" fmla="*/ 155 h 519"/>
                  <a:gd name="T42" fmla="*/ 131 w 405"/>
                  <a:gd name="T43" fmla="*/ 120 h 519"/>
                  <a:gd name="T44" fmla="*/ 81 w 405"/>
                  <a:gd name="T45" fmla="*/ 130 h 519"/>
                  <a:gd name="T46" fmla="*/ 76 w 405"/>
                  <a:gd name="T47" fmla="*/ 226 h 519"/>
                  <a:gd name="T48" fmla="*/ 71 w 405"/>
                  <a:gd name="T49" fmla="*/ 130 h 519"/>
                  <a:gd name="T50" fmla="*/ 20 w 405"/>
                  <a:gd name="T51" fmla="*/ 120 h 519"/>
                  <a:gd name="T52" fmla="*/ 0 w 405"/>
                  <a:gd name="T53" fmla="*/ 266 h 519"/>
                  <a:gd name="T54" fmla="*/ 27 w 405"/>
                  <a:gd name="T55" fmla="*/ 285 h 519"/>
                  <a:gd name="T56" fmla="*/ 53 w 405"/>
                  <a:gd name="T57" fmla="*/ 463 h 519"/>
                  <a:gd name="T58" fmla="*/ 98 w 405"/>
                  <a:gd name="T59" fmla="*/ 463 h 519"/>
                  <a:gd name="T60" fmla="*/ 125 w 405"/>
                  <a:gd name="T61" fmla="*/ 329 h 519"/>
                  <a:gd name="T62" fmla="*/ 281 w 405"/>
                  <a:gd name="T63" fmla="*/ 139 h 519"/>
                  <a:gd name="T64" fmla="*/ 216 w 405"/>
                  <a:gd name="T65" fmla="*/ 132 h 519"/>
                  <a:gd name="T66" fmla="*/ 223 w 405"/>
                  <a:gd name="T67" fmla="*/ 232 h 519"/>
                  <a:gd name="T68" fmla="*/ 181 w 405"/>
                  <a:gd name="T69" fmla="*/ 232 h 519"/>
                  <a:gd name="T70" fmla="*/ 188 w 405"/>
                  <a:gd name="T71" fmla="*/ 132 h 519"/>
                  <a:gd name="T72" fmla="*/ 117 w 405"/>
                  <a:gd name="T73" fmla="*/ 155 h 519"/>
                  <a:gd name="T74" fmla="*/ 140 w 405"/>
                  <a:gd name="T75" fmla="*/ 319 h 519"/>
                  <a:gd name="T76" fmla="*/ 147 w 405"/>
                  <a:gd name="T77" fmla="*/ 489 h 519"/>
                  <a:gd name="T78" fmla="*/ 202 w 405"/>
                  <a:gd name="T79" fmla="*/ 505 h 519"/>
                  <a:gd name="T80" fmla="*/ 257 w 405"/>
                  <a:gd name="T81" fmla="*/ 489 h 519"/>
                  <a:gd name="T82" fmla="*/ 263 w 405"/>
                  <a:gd name="T83" fmla="*/ 318 h 519"/>
                  <a:gd name="T84" fmla="*/ 287 w 405"/>
                  <a:gd name="T85" fmla="*/ 155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05" h="519">
                    <a:moveTo>
                      <a:pt x="151" y="49"/>
                    </a:moveTo>
                    <a:cubicBezTo>
                      <a:pt x="151" y="17"/>
                      <a:pt x="174" y="0"/>
                      <a:pt x="202" y="0"/>
                    </a:cubicBezTo>
                    <a:cubicBezTo>
                      <a:pt x="231" y="0"/>
                      <a:pt x="254" y="17"/>
                      <a:pt x="254" y="49"/>
                    </a:cubicBezTo>
                    <a:cubicBezTo>
                      <a:pt x="254" y="82"/>
                      <a:pt x="231" y="117"/>
                      <a:pt x="202" y="117"/>
                    </a:cubicBezTo>
                    <a:cubicBezTo>
                      <a:pt x="174" y="117"/>
                      <a:pt x="151" y="82"/>
                      <a:pt x="151" y="49"/>
                    </a:cubicBezTo>
                    <a:close/>
                    <a:moveTo>
                      <a:pt x="76" y="106"/>
                    </a:moveTo>
                    <a:cubicBezTo>
                      <a:pt x="101" y="106"/>
                      <a:pt x="121" y="75"/>
                      <a:pt x="121" y="46"/>
                    </a:cubicBezTo>
                    <a:cubicBezTo>
                      <a:pt x="121" y="18"/>
                      <a:pt x="101" y="2"/>
                      <a:pt x="76" y="2"/>
                    </a:cubicBezTo>
                    <a:cubicBezTo>
                      <a:pt x="51" y="2"/>
                      <a:pt x="30" y="18"/>
                      <a:pt x="30" y="46"/>
                    </a:cubicBezTo>
                    <a:cubicBezTo>
                      <a:pt x="30" y="75"/>
                      <a:pt x="51" y="106"/>
                      <a:pt x="76" y="106"/>
                    </a:cubicBezTo>
                    <a:close/>
                    <a:moveTo>
                      <a:pt x="329" y="106"/>
                    </a:moveTo>
                    <a:cubicBezTo>
                      <a:pt x="354" y="106"/>
                      <a:pt x="375" y="75"/>
                      <a:pt x="375" y="46"/>
                    </a:cubicBezTo>
                    <a:cubicBezTo>
                      <a:pt x="375" y="18"/>
                      <a:pt x="354" y="2"/>
                      <a:pt x="329" y="2"/>
                    </a:cubicBezTo>
                    <a:cubicBezTo>
                      <a:pt x="304" y="2"/>
                      <a:pt x="284" y="18"/>
                      <a:pt x="284" y="46"/>
                    </a:cubicBezTo>
                    <a:cubicBezTo>
                      <a:pt x="284" y="75"/>
                      <a:pt x="304" y="106"/>
                      <a:pt x="329" y="106"/>
                    </a:cubicBezTo>
                    <a:close/>
                    <a:moveTo>
                      <a:pt x="399" y="126"/>
                    </a:moveTo>
                    <a:cubicBezTo>
                      <a:pt x="395" y="122"/>
                      <a:pt x="390" y="120"/>
                      <a:pt x="385" y="120"/>
                    </a:cubicBezTo>
                    <a:lnTo>
                      <a:pt x="341" y="120"/>
                    </a:lnTo>
                    <a:lnTo>
                      <a:pt x="334" y="130"/>
                    </a:lnTo>
                    <a:lnTo>
                      <a:pt x="348" y="208"/>
                    </a:lnTo>
                    <a:lnTo>
                      <a:pt x="329" y="226"/>
                    </a:lnTo>
                    <a:lnTo>
                      <a:pt x="310" y="208"/>
                    </a:lnTo>
                    <a:lnTo>
                      <a:pt x="324" y="130"/>
                    </a:lnTo>
                    <a:lnTo>
                      <a:pt x="317" y="120"/>
                    </a:lnTo>
                    <a:lnTo>
                      <a:pt x="274" y="120"/>
                    </a:lnTo>
                    <a:cubicBezTo>
                      <a:pt x="273" y="120"/>
                      <a:pt x="273" y="120"/>
                      <a:pt x="273" y="120"/>
                    </a:cubicBezTo>
                    <a:cubicBezTo>
                      <a:pt x="279" y="121"/>
                      <a:pt x="286" y="125"/>
                      <a:pt x="290" y="129"/>
                    </a:cubicBezTo>
                    <a:cubicBezTo>
                      <a:pt x="297" y="136"/>
                      <a:pt x="301" y="146"/>
                      <a:pt x="301" y="155"/>
                    </a:cubicBezTo>
                    <a:lnTo>
                      <a:pt x="300" y="295"/>
                    </a:lnTo>
                    <a:cubicBezTo>
                      <a:pt x="299" y="310"/>
                      <a:pt x="292" y="321"/>
                      <a:pt x="280" y="327"/>
                    </a:cubicBezTo>
                    <a:lnTo>
                      <a:pt x="280" y="436"/>
                    </a:lnTo>
                    <a:cubicBezTo>
                      <a:pt x="280" y="451"/>
                      <a:pt x="292" y="463"/>
                      <a:pt x="307" y="463"/>
                    </a:cubicBezTo>
                    <a:cubicBezTo>
                      <a:pt x="316" y="463"/>
                      <a:pt x="324" y="458"/>
                      <a:pt x="329" y="451"/>
                    </a:cubicBezTo>
                    <a:cubicBezTo>
                      <a:pt x="334" y="458"/>
                      <a:pt x="342" y="463"/>
                      <a:pt x="351" y="463"/>
                    </a:cubicBezTo>
                    <a:cubicBezTo>
                      <a:pt x="366" y="463"/>
                      <a:pt x="378" y="451"/>
                      <a:pt x="378" y="436"/>
                    </a:cubicBezTo>
                    <a:lnTo>
                      <a:pt x="378" y="284"/>
                    </a:lnTo>
                    <a:cubicBezTo>
                      <a:pt x="380" y="284"/>
                      <a:pt x="381" y="284"/>
                      <a:pt x="383" y="284"/>
                    </a:cubicBezTo>
                    <a:cubicBezTo>
                      <a:pt x="395" y="285"/>
                      <a:pt x="403" y="276"/>
                      <a:pt x="403" y="265"/>
                    </a:cubicBezTo>
                    <a:lnTo>
                      <a:pt x="405" y="140"/>
                    </a:lnTo>
                    <a:cubicBezTo>
                      <a:pt x="405" y="135"/>
                      <a:pt x="403" y="129"/>
                      <a:pt x="399" y="126"/>
                    </a:cubicBezTo>
                    <a:close/>
                    <a:moveTo>
                      <a:pt x="104" y="297"/>
                    </a:moveTo>
                    <a:lnTo>
                      <a:pt x="104" y="155"/>
                    </a:lnTo>
                    <a:cubicBezTo>
                      <a:pt x="104" y="138"/>
                      <a:pt x="116" y="123"/>
                      <a:pt x="132" y="120"/>
                    </a:cubicBezTo>
                    <a:cubicBezTo>
                      <a:pt x="132" y="120"/>
                      <a:pt x="131" y="120"/>
                      <a:pt x="131" y="120"/>
                    </a:cubicBezTo>
                    <a:lnTo>
                      <a:pt x="88" y="120"/>
                    </a:lnTo>
                    <a:lnTo>
                      <a:pt x="81" y="130"/>
                    </a:lnTo>
                    <a:lnTo>
                      <a:pt x="94" y="208"/>
                    </a:lnTo>
                    <a:lnTo>
                      <a:pt x="76" y="226"/>
                    </a:lnTo>
                    <a:lnTo>
                      <a:pt x="57" y="208"/>
                    </a:lnTo>
                    <a:lnTo>
                      <a:pt x="71" y="130"/>
                    </a:lnTo>
                    <a:lnTo>
                      <a:pt x="63" y="120"/>
                    </a:lnTo>
                    <a:lnTo>
                      <a:pt x="20" y="120"/>
                    </a:lnTo>
                    <a:cubicBezTo>
                      <a:pt x="9" y="120"/>
                      <a:pt x="0" y="129"/>
                      <a:pt x="0" y="140"/>
                    </a:cubicBezTo>
                    <a:lnTo>
                      <a:pt x="0" y="266"/>
                    </a:lnTo>
                    <a:cubicBezTo>
                      <a:pt x="0" y="277"/>
                      <a:pt x="9" y="286"/>
                      <a:pt x="20" y="286"/>
                    </a:cubicBezTo>
                    <a:cubicBezTo>
                      <a:pt x="22" y="286"/>
                      <a:pt x="25" y="286"/>
                      <a:pt x="27" y="285"/>
                    </a:cubicBezTo>
                    <a:lnTo>
                      <a:pt x="27" y="436"/>
                    </a:lnTo>
                    <a:cubicBezTo>
                      <a:pt x="27" y="451"/>
                      <a:pt x="39" y="463"/>
                      <a:pt x="53" y="463"/>
                    </a:cubicBezTo>
                    <a:cubicBezTo>
                      <a:pt x="63" y="463"/>
                      <a:pt x="71" y="458"/>
                      <a:pt x="76" y="451"/>
                    </a:cubicBezTo>
                    <a:cubicBezTo>
                      <a:pt x="80" y="458"/>
                      <a:pt x="89" y="463"/>
                      <a:pt x="98" y="463"/>
                    </a:cubicBezTo>
                    <a:cubicBezTo>
                      <a:pt x="113" y="463"/>
                      <a:pt x="125" y="451"/>
                      <a:pt x="125" y="436"/>
                    </a:cubicBezTo>
                    <a:lnTo>
                      <a:pt x="125" y="329"/>
                    </a:lnTo>
                    <a:cubicBezTo>
                      <a:pt x="112" y="324"/>
                      <a:pt x="104" y="311"/>
                      <a:pt x="104" y="297"/>
                    </a:cubicBezTo>
                    <a:close/>
                    <a:moveTo>
                      <a:pt x="281" y="139"/>
                    </a:moveTo>
                    <a:cubicBezTo>
                      <a:pt x="277" y="135"/>
                      <a:pt x="271" y="132"/>
                      <a:pt x="265" y="132"/>
                    </a:cubicBezTo>
                    <a:lnTo>
                      <a:pt x="216" y="132"/>
                    </a:lnTo>
                    <a:lnTo>
                      <a:pt x="208" y="144"/>
                    </a:lnTo>
                    <a:lnTo>
                      <a:pt x="223" y="232"/>
                    </a:lnTo>
                    <a:lnTo>
                      <a:pt x="202" y="252"/>
                    </a:lnTo>
                    <a:lnTo>
                      <a:pt x="181" y="232"/>
                    </a:lnTo>
                    <a:lnTo>
                      <a:pt x="197" y="144"/>
                    </a:lnTo>
                    <a:lnTo>
                      <a:pt x="188" y="132"/>
                    </a:lnTo>
                    <a:lnTo>
                      <a:pt x="140" y="132"/>
                    </a:lnTo>
                    <a:cubicBezTo>
                      <a:pt x="127" y="132"/>
                      <a:pt x="117" y="142"/>
                      <a:pt x="117" y="155"/>
                    </a:cubicBezTo>
                    <a:lnTo>
                      <a:pt x="117" y="297"/>
                    </a:lnTo>
                    <a:cubicBezTo>
                      <a:pt x="117" y="309"/>
                      <a:pt x="127" y="319"/>
                      <a:pt x="140" y="319"/>
                    </a:cubicBezTo>
                    <a:cubicBezTo>
                      <a:pt x="142" y="319"/>
                      <a:pt x="145" y="319"/>
                      <a:pt x="147" y="318"/>
                    </a:cubicBezTo>
                    <a:lnTo>
                      <a:pt x="147" y="489"/>
                    </a:lnTo>
                    <a:cubicBezTo>
                      <a:pt x="147" y="505"/>
                      <a:pt x="161" y="519"/>
                      <a:pt x="177" y="519"/>
                    </a:cubicBezTo>
                    <a:cubicBezTo>
                      <a:pt x="188" y="519"/>
                      <a:pt x="197" y="513"/>
                      <a:pt x="202" y="505"/>
                    </a:cubicBezTo>
                    <a:cubicBezTo>
                      <a:pt x="208" y="513"/>
                      <a:pt x="217" y="519"/>
                      <a:pt x="227" y="519"/>
                    </a:cubicBezTo>
                    <a:cubicBezTo>
                      <a:pt x="244" y="519"/>
                      <a:pt x="257" y="505"/>
                      <a:pt x="257" y="489"/>
                    </a:cubicBezTo>
                    <a:lnTo>
                      <a:pt x="257" y="317"/>
                    </a:lnTo>
                    <a:cubicBezTo>
                      <a:pt x="259" y="317"/>
                      <a:pt x="261" y="318"/>
                      <a:pt x="263" y="318"/>
                    </a:cubicBezTo>
                    <a:cubicBezTo>
                      <a:pt x="276" y="318"/>
                      <a:pt x="286" y="308"/>
                      <a:pt x="286" y="295"/>
                    </a:cubicBezTo>
                    <a:lnTo>
                      <a:pt x="287" y="155"/>
                    </a:lnTo>
                    <a:cubicBezTo>
                      <a:pt x="287" y="149"/>
                      <a:pt x="285" y="143"/>
                      <a:pt x="281" y="139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</a:p>
            </p:txBody>
          </p:sp>
          <p:sp>
            <p:nvSpPr>
              <p:cNvPr id="34" name="ïṡḻiḓê"/>
              <p:cNvSpPr/>
              <p:nvPr/>
            </p:nvSpPr>
            <p:spPr bwMode="auto">
              <a:xfrm>
                <a:off x="1409065" y="365125"/>
                <a:ext cx="2780600" cy="458056"/>
              </a:xfrm>
              <a:prstGeom prst="rect">
                <a:avLst/>
              </a:prstGeom>
              <a:noFill/>
              <a:ln w="38100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rtlCol="0" anchor="ctr">
                <a:normAutofit fontScale="70000"/>
              </a:bodyPr>
              <a:lstStyle/>
              <a:p>
                <a:endParaRPr lang="zh-CN" altLang="en-US" sz="16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" name="ïšḷíḑê"/>
            <p:cNvGrpSpPr/>
            <p:nvPr/>
          </p:nvGrpSpPr>
          <p:grpSpPr>
            <a:xfrm>
              <a:off x="8098274" y="2053468"/>
              <a:ext cx="3420626" cy="684038"/>
              <a:chOff x="8098274" y="1130300"/>
              <a:chExt cx="3420626" cy="684038"/>
            </a:xfrm>
          </p:grpSpPr>
          <p:sp>
            <p:nvSpPr>
              <p:cNvPr id="31" name="íşľiďé"/>
              <p:cNvSpPr/>
              <p:nvPr/>
            </p:nvSpPr>
            <p:spPr>
              <a:xfrm>
                <a:off x="8098274" y="1541304"/>
                <a:ext cx="279328" cy="273034"/>
              </a:xfrm>
              <a:custGeom>
                <a:avLst/>
                <a:gdLst>
                  <a:gd name="connsiteX0" fmla="*/ 163904 w 607933"/>
                  <a:gd name="connsiteY0" fmla="*/ 368072 h 594235"/>
                  <a:gd name="connsiteX1" fmla="*/ 194698 w 607933"/>
                  <a:gd name="connsiteY1" fmla="*/ 416677 h 594235"/>
                  <a:gd name="connsiteX2" fmla="*/ 52648 w 607933"/>
                  <a:gd name="connsiteY2" fmla="*/ 475202 h 594235"/>
                  <a:gd name="connsiteX3" fmla="*/ 303966 w 607933"/>
                  <a:gd name="connsiteY3" fmla="*/ 542654 h 594235"/>
                  <a:gd name="connsiteX4" fmla="*/ 555285 w 607933"/>
                  <a:gd name="connsiteY4" fmla="*/ 475202 h 594235"/>
                  <a:gd name="connsiteX5" fmla="*/ 412242 w 607933"/>
                  <a:gd name="connsiteY5" fmla="*/ 416677 h 594235"/>
                  <a:gd name="connsiteX6" fmla="*/ 444030 w 607933"/>
                  <a:gd name="connsiteY6" fmla="*/ 368072 h 594235"/>
                  <a:gd name="connsiteX7" fmla="*/ 607933 w 607933"/>
                  <a:gd name="connsiteY7" fmla="*/ 475202 h 594235"/>
                  <a:gd name="connsiteX8" fmla="*/ 303966 w 607933"/>
                  <a:gd name="connsiteY8" fmla="*/ 594235 h 594235"/>
                  <a:gd name="connsiteX9" fmla="*/ 0 w 607933"/>
                  <a:gd name="connsiteY9" fmla="*/ 475202 h 594235"/>
                  <a:gd name="connsiteX10" fmla="*/ 163904 w 607933"/>
                  <a:gd name="connsiteY10" fmla="*/ 368072 h 594235"/>
                  <a:gd name="connsiteX11" fmla="*/ 304444 w 607933"/>
                  <a:gd name="connsiteY11" fmla="*/ 119134 h 594235"/>
                  <a:gd name="connsiteX12" fmla="*/ 368550 w 607933"/>
                  <a:gd name="connsiteY12" fmla="*/ 183559 h 594235"/>
                  <a:gd name="connsiteX13" fmla="*/ 304444 w 607933"/>
                  <a:gd name="connsiteY13" fmla="*/ 247984 h 594235"/>
                  <a:gd name="connsiteX14" fmla="*/ 240338 w 607933"/>
                  <a:gd name="connsiteY14" fmla="*/ 183559 h 594235"/>
                  <a:gd name="connsiteX15" fmla="*/ 304444 w 607933"/>
                  <a:gd name="connsiteY15" fmla="*/ 119134 h 594235"/>
                  <a:gd name="connsiteX16" fmla="*/ 304941 w 607933"/>
                  <a:gd name="connsiteY16" fmla="*/ 78375 h 594235"/>
                  <a:gd name="connsiteX17" fmla="*/ 198655 w 607933"/>
                  <a:gd name="connsiteY17" fmla="*/ 183536 h 594235"/>
                  <a:gd name="connsiteX18" fmla="*/ 304941 w 607933"/>
                  <a:gd name="connsiteY18" fmla="*/ 288698 h 594235"/>
                  <a:gd name="connsiteX19" fmla="*/ 410234 w 607933"/>
                  <a:gd name="connsiteY19" fmla="*/ 183536 h 594235"/>
                  <a:gd name="connsiteX20" fmla="*/ 304941 w 607933"/>
                  <a:gd name="connsiteY20" fmla="*/ 78375 h 594235"/>
                  <a:gd name="connsiteX21" fmla="*/ 304941 w 607933"/>
                  <a:gd name="connsiteY21" fmla="*/ 0 h 594235"/>
                  <a:gd name="connsiteX22" fmla="*/ 482747 w 607933"/>
                  <a:gd name="connsiteY22" fmla="*/ 178576 h 594235"/>
                  <a:gd name="connsiteX23" fmla="*/ 338714 w 607933"/>
                  <a:gd name="connsiteY23" fmla="*/ 454376 h 594235"/>
                  <a:gd name="connsiteX24" fmla="*/ 304941 w 607933"/>
                  <a:gd name="connsiteY24" fmla="*/ 472234 h 594235"/>
                  <a:gd name="connsiteX25" fmla="*/ 270175 w 607933"/>
                  <a:gd name="connsiteY25" fmla="*/ 454376 h 594235"/>
                  <a:gd name="connsiteX26" fmla="*/ 126142 w 607933"/>
                  <a:gd name="connsiteY26" fmla="*/ 178576 h 594235"/>
                  <a:gd name="connsiteX27" fmla="*/ 304941 w 607933"/>
                  <a:gd name="connsiteY27" fmla="*/ 0 h 594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07933" h="594235">
                    <a:moveTo>
                      <a:pt x="163904" y="368072"/>
                    </a:moveTo>
                    <a:cubicBezTo>
                      <a:pt x="173837" y="383943"/>
                      <a:pt x="183771" y="399814"/>
                      <a:pt x="194698" y="416677"/>
                    </a:cubicBezTo>
                    <a:cubicBezTo>
                      <a:pt x="100329" y="430564"/>
                      <a:pt x="52648" y="460323"/>
                      <a:pt x="52648" y="475202"/>
                    </a:cubicBezTo>
                    <a:cubicBezTo>
                      <a:pt x="52648" y="495041"/>
                      <a:pt x="138076" y="542654"/>
                      <a:pt x="303966" y="542654"/>
                    </a:cubicBezTo>
                    <a:cubicBezTo>
                      <a:pt x="469857" y="542654"/>
                      <a:pt x="555285" y="495041"/>
                      <a:pt x="555285" y="475202"/>
                    </a:cubicBezTo>
                    <a:cubicBezTo>
                      <a:pt x="555285" y="460323"/>
                      <a:pt x="506611" y="430564"/>
                      <a:pt x="412242" y="416677"/>
                    </a:cubicBezTo>
                    <a:cubicBezTo>
                      <a:pt x="424162" y="399814"/>
                      <a:pt x="434096" y="383943"/>
                      <a:pt x="444030" y="368072"/>
                    </a:cubicBezTo>
                    <a:cubicBezTo>
                      <a:pt x="536412" y="385927"/>
                      <a:pt x="607933" y="421637"/>
                      <a:pt x="607933" y="475202"/>
                    </a:cubicBezTo>
                    <a:cubicBezTo>
                      <a:pt x="607933" y="553565"/>
                      <a:pt x="454956" y="594235"/>
                      <a:pt x="303966" y="594235"/>
                    </a:cubicBezTo>
                    <a:cubicBezTo>
                      <a:pt x="152977" y="594235"/>
                      <a:pt x="0" y="553565"/>
                      <a:pt x="0" y="475202"/>
                    </a:cubicBezTo>
                    <a:cubicBezTo>
                      <a:pt x="0" y="421637"/>
                      <a:pt x="70528" y="385927"/>
                      <a:pt x="163904" y="368072"/>
                    </a:cubicBezTo>
                    <a:close/>
                    <a:moveTo>
                      <a:pt x="304444" y="119134"/>
                    </a:moveTo>
                    <a:cubicBezTo>
                      <a:pt x="339849" y="119134"/>
                      <a:pt x="368550" y="147978"/>
                      <a:pt x="368550" y="183559"/>
                    </a:cubicBezTo>
                    <a:cubicBezTo>
                      <a:pt x="368550" y="219140"/>
                      <a:pt x="339849" y="247984"/>
                      <a:pt x="304444" y="247984"/>
                    </a:cubicBezTo>
                    <a:cubicBezTo>
                      <a:pt x="269039" y="247984"/>
                      <a:pt x="240338" y="219140"/>
                      <a:pt x="240338" y="183559"/>
                    </a:cubicBezTo>
                    <a:cubicBezTo>
                      <a:pt x="240338" y="147978"/>
                      <a:pt x="269039" y="119134"/>
                      <a:pt x="304444" y="119134"/>
                    </a:cubicBezTo>
                    <a:close/>
                    <a:moveTo>
                      <a:pt x="304941" y="78375"/>
                    </a:moveTo>
                    <a:cubicBezTo>
                      <a:pt x="246335" y="78375"/>
                      <a:pt x="198655" y="125003"/>
                      <a:pt x="198655" y="183536"/>
                    </a:cubicBezTo>
                    <a:cubicBezTo>
                      <a:pt x="198655" y="242070"/>
                      <a:pt x="246335" y="288698"/>
                      <a:pt x="304941" y="288698"/>
                    </a:cubicBezTo>
                    <a:cubicBezTo>
                      <a:pt x="362554" y="288698"/>
                      <a:pt x="410234" y="242070"/>
                      <a:pt x="410234" y="183536"/>
                    </a:cubicBezTo>
                    <a:cubicBezTo>
                      <a:pt x="410234" y="125003"/>
                      <a:pt x="362554" y="78375"/>
                      <a:pt x="304941" y="78375"/>
                    </a:cubicBezTo>
                    <a:close/>
                    <a:moveTo>
                      <a:pt x="304941" y="0"/>
                    </a:moveTo>
                    <a:cubicBezTo>
                      <a:pt x="403281" y="0"/>
                      <a:pt x="482747" y="80359"/>
                      <a:pt x="482747" y="178576"/>
                    </a:cubicBezTo>
                    <a:cubicBezTo>
                      <a:pt x="482747" y="249014"/>
                      <a:pt x="391361" y="383938"/>
                      <a:pt x="338714" y="454376"/>
                    </a:cubicBezTo>
                    <a:cubicBezTo>
                      <a:pt x="330768" y="465289"/>
                      <a:pt x="317854" y="472234"/>
                      <a:pt x="304941" y="472234"/>
                    </a:cubicBezTo>
                    <a:cubicBezTo>
                      <a:pt x="291035" y="472234"/>
                      <a:pt x="278121" y="465289"/>
                      <a:pt x="270175" y="454376"/>
                    </a:cubicBezTo>
                    <a:cubicBezTo>
                      <a:pt x="217528" y="383938"/>
                      <a:pt x="126142" y="249014"/>
                      <a:pt x="126142" y="178576"/>
                    </a:cubicBezTo>
                    <a:cubicBezTo>
                      <a:pt x="126142" y="80359"/>
                      <a:pt x="205608" y="0"/>
                      <a:pt x="30494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</a:p>
            </p:txBody>
          </p:sp>
          <p:sp>
            <p:nvSpPr>
              <p:cNvPr id="28" name="î$ḻîḓé"/>
              <p:cNvSpPr/>
              <p:nvPr/>
            </p:nvSpPr>
            <p:spPr bwMode="auto">
              <a:xfrm>
                <a:off x="8738300" y="1130300"/>
                <a:ext cx="2780600" cy="458056"/>
              </a:xfrm>
              <a:prstGeom prst="rect">
                <a:avLst/>
              </a:prstGeom>
              <a:noFill/>
              <a:ln w="38100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rtlCol="0" anchor="ctr">
                <a:normAutofit fontScale="70000"/>
              </a:bodyPr>
              <a:lstStyle/>
              <a:p>
                <a:pPr algn="r"/>
                <a:endParaRPr lang="zh-CN" altLang="en-US" sz="16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5" name="ïŝlîḑê"/>
            <p:cNvSpPr/>
            <p:nvPr/>
          </p:nvSpPr>
          <p:spPr>
            <a:xfrm>
              <a:off x="3971085" y="4208707"/>
              <a:ext cx="218292" cy="279328"/>
            </a:xfrm>
            <a:custGeom>
              <a:avLst/>
              <a:gdLst>
                <a:gd name="T0" fmla="*/ 202 w 405"/>
                <a:gd name="T1" fmla="*/ 0 h 519"/>
                <a:gd name="T2" fmla="*/ 202 w 405"/>
                <a:gd name="T3" fmla="*/ 117 h 519"/>
                <a:gd name="T4" fmla="*/ 76 w 405"/>
                <a:gd name="T5" fmla="*/ 106 h 519"/>
                <a:gd name="T6" fmla="*/ 76 w 405"/>
                <a:gd name="T7" fmla="*/ 2 h 519"/>
                <a:gd name="T8" fmla="*/ 76 w 405"/>
                <a:gd name="T9" fmla="*/ 106 h 519"/>
                <a:gd name="T10" fmla="*/ 375 w 405"/>
                <a:gd name="T11" fmla="*/ 46 h 519"/>
                <a:gd name="T12" fmla="*/ 284 w 405"/>
                <a:gd name="T13" fmla="*/ 46 h 519"/>
                <a:gd name="T14" fmla="*/ 399 w 405"/>
                <a:gd name="T15" fmla="*/ 126 h 519"/>
                <a:gd name="T16" fmla="*/ 341 w 405"/>
                <a:gd name="T17" fmla="*/ 120 h 519"/>
                <a:gd name="T18" fmla="*/ 348 w 405"/>
                <a:gd name="T19" fmla="*/ 208 h 519"/>
                <a:gd name="T20" fmla="*/ 310 w 405"/>
                <a:gd name="T21" fmla="*/ 208 h 519"/>
                <a:gd name="T22" fmla="*/ 317 w 405"/>
                <a:gd name="T23" fmla="*/ 120 h 519"/>
                <a:gd name="T24" fmla="*/ 273 w 405"/>
                <a:gd name="T25" fmla="*/ 120 h 519"/>
                <a:gd name="T26" fmla="*/ 301 w 405"/>
                <a:gd name="T27" fmla="*/ 155 h 519"/>
                <a:gd name="T28" fmla="*/ 280 w 405"/>
                <a:gd name="T29" fmla="*/ 327 h 519"/>
                <a:gd name="T30" fmla="*/ 307 w 405"/>
                <a:gd name="T31" fmla="*/ 463 h 519"/>
                <a:gd name="T32" fmla="*/ 351 w 405"/>
                <a:gd name="T33" fmla="*/ 463 h 519"/>
                <a:gd name="T34" fmla="*/ 378 w 405"/>
                <a:gd name="T35" fmla="*/ 284 h 519"/>
                <a:gd name="T36" fmla="*/ 403 w 405"/>
                <a:gd name="T37" fmla="*/ 265 h 519"/>
                <a:gd name="T38" fmla="*/ 399 w 405"/>
                <a:gd name="T39" fmla="*/ 126 h 519"/>
                <a:gd name="T40" fmla="*/ 104 w 405"/>
                <a:gd name="T41" fmla="*/ 155 h 519"/>
                <a:gd name="T42" fmla="*/ 131 w 405"/>
                <a:gd name="T43" fmla="*/ 120 h 519"/>
                <a:gd name="T44" fmla="*/ 81 w 405"/>
                <a:gd name="T45" fmla="*/ 130 h 519"/>
                <a:gd name="T46" fmla="*/ 76 w 405"/>
                <a:gd name="T47" fmla="*/ 226 h 519"/>
                <a:gd name="T48" fmla="*/ 71 w 405"/>
                <a:gd name="T49" fmla="*/ 130 h 519"/>
                <a:gd name="T50" fmla="*/ 20 w 405"/>
                <a:gd name="T51" fmla="*/ 120 h 519"/>
                <a:gd name="T52" fmla="*/ 0 w 405"/>
                <a:gd name="T53" fmla="*/ 266 h 519"/>
                <a:gd name="T54" fmla="*/ 27 w 405"/>
                <a:gd name="T55" fmla="*/ 285 h 519"/>
                <a:gd name="T56" fmla="*/ 53 w 405"/>
                <a:gd name="T57" fmla="*/ 463 h 519"/>
                <a:gd name="T58" fmla="*/ 98 w 405"/>
                <a:gd name="T59" fmla="*/ 463 h 519"/>
                <a:gd name="T60" fmla="*/ 125 w 405"/>
                <a:gd name="T61" fmla="*/ 329 h 519"/>
                <a:gd name="T62" fmla="*/ 281 w 405"/>
                <a:gd name="T63" fmla="*/ 139 h 519"/>
                <a:gd name="T64" fmla="*/ 216 w 405"/>
                <a:gd name="T65" fmla="*/ 132 h 519"/>
                <a:gd name="T66" fmla="*/ 223 w 405"/>
                <a:gd name="T67" fmla="*/ 232 h 519"/>
                <a:gd name="T68" fmla="*/ 181 w 405"/>
                <a:gd name="T69" fmla="*/ 232 h 519"/>
                <a:gd name="T70" fmla="*/ 188 w 405"/>
                <a:gd name="T71" fmla="*/ 132 h 519"/>
                <a:gd name="T72" fmla="*/ 117 w 405"/>
                <a:gd name="T73" fmla="*/ 155 h 519"/>
                <a:gd name="T74" fmla="*/ 140 w 405"/>
                <a:gd name="T75" fmla="*/ 319 h 519"/>
                <a:gd name="T76" fmla="*/ 147 w 405"/>
                <a:gd name="T77" fmla="*/ 489 h 519"/>
                <a:gd name="T78" fmla="*/ 202 w 405"/>
                <a:gd name="T79" fmla="*/ 505 h 519"/>
                <a:gd name="T80" fmla="*/ 257 w 405"/>
                <a:gd name="T81" fmla="*/ 489 h 519"/>
                <a:gd name="T82" fmla="*/ 263 w 405"/>
                <a:gd name="T83" fmla="*/ 318 h 519"/>
                <a:gd name="T84" fmla="*/ 287 w 405"/>
                <a:gd name="T85" fmla="*/ 155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5" h="519">
                  <a:moveTo>
                    <a:pt x="151" y="49"/>
                  </a:moveTo>
                  <a:cubicBezTo>
                    <a:pt x="151" y="17"/>
                    <a:pt x="174" y="0"/>
                    <a:pt x="202" y="0"/>
                  </a:cubicBezTo>
                  <a:cubicBezTo>
                    <a:pt x="231" y="0"/>
                    <a:pt x="254" y="17"/>
                    <a:pt x="254" y="49"/>
                  </a:cubicBezTo>
                  <a:cubicBezTo>
                    <a:pt x="254" y="82"/>
                    <a:pt x="231" y="117"/>
                    <a:pt x="202" y="117"/>
                  </a:cubicBezTo>
                  <a:cubicBezTo>
                    <a:pt x="174" y="117"/>
                    <a:pt x="151" y="82"/>
                    <a:pt x="151" y="49"/>
                  </a:cubicBezTo>
                  <a:close/>
                  <a:moveTo>
                    <a:pt x="76" y="106"/>
                  </a:moveTo>
                  <a:cubicBezTo>
                    <a:pt x="101" y="106"/>
                    <a:pt x="121" y="75"/>
                    <a:pt x="121" y="46"/>
                  </a:cubicBezTo>
                  <a:cubicBezTo>
                    <a:pt x="121" y="18"/>
                    <a:pt x="101" y="2"/>
                    <a:pt x="76" y="2"/>
                  </a:cubicBezTo>
                  <a:cubicBezTo>
                    <a:pt x="51" y="2"/>
                    <a:pt x="30" y="18"/>
                    <a:pt x="30" y="46"/>
                  </a:cubicBezTo>
                  <a:cubicBezTo>
                    <a:pt x="30" y="75"/>
                    <a:pt x="51" y="106"/>
                    <a:pt x="76" y="106"/>
                  </a:cubicBezTo>
                  <a:close/>
                  <a:moveTo>
                    <a:pt x="329" y="106"/>
                  </a:moveTo>
                  <a:cubicBezTo>
                    <a:pt x="354" y="106"/>
                    <a:pt x="375" y="75"/>
                    <a:pt x="375" y="46"/>
                  </a:cubicBezTo>
                  <a:cubicBezTo>
                    <a:pt x="375" y="18"/>
                    <a:pt x="354" y="2"/>
                    <a:pt x="329" y="2"/>
                  </a:cubicBezTo>
                  <a:cubicBezTo>
                    <a:pt x="304" y="2"/>
                    <a:pt x="284" y="18"/>
                    <a:pt x="284" y="46"/>
                  </a:cubicBezTo>
                  <a:cubicBezTo>
                    <a:pt x="284" y="75"/>
                    <a:pt x="304" y="106"/>
                    <a:pt x="329" y="106"/>
                  </a:cubicBezTo>
                  <a:close/>
                  <a:moveTo>
                    <a:pt x="399" y="126"/>
                  </a:moveTo>
                  <a:cubicBezTo>
                    <a:pt x="395" y="122"/>
                    <a:pt x="390" y="120"/>
                    <a:pt x="385" y="120"/>
                  </a:cubicBezTo>
                  <a:lnTo>
                    <a:pt x="341" y="120"/>
                  </a:lnTo>
                  <a:lnTo>
                    <a:pt x="334" y="130"/>
                  </a:lnTo>
                  <a:lnTo>
                    <a:pt x="348" y="208"/>
                  </a:lnTo>
                  <a:lnTo>
                    <a:pt x="329" y="226"/>
                  </a:lnTo>
                  <a:lnTo>
                    <a:pt x="310" y="208"/>
                  </a:lnTo>
                  <a:lnTo>
                    <a:pt x="324" y="130"/>
                  </a:lnTo>
                  <a:lnTo>
                    <a:pt x="317" y="120"/>
                  </a:lnTo>
                  <a:lnTo>
                    <a:pt x="274" y="120"/>
                  </a:lnTo>
                  <a:cubicBezTo>
                    <a:pt x="273" y="120"/>
                    <a:pt x="273" y="120"/>
                    <a:pt x="273" y="120"/>
                  </a:cubicBezTo>
                  <a:cubicBezTo>
                    <a:pt x="279" y="121"/>
                    <a:pt x="286" y="125"/>
                    <a:pt x="290" y="129"/>
                  </a:cubicBezTo>
                  <a:cubicBezTo>
                    <a:pt x="297" y="136"/>
                    <a:pt x="301" y="146"/>
                    <a:pt x="301" y="155"/>
                  </a:cubicBezTo>
                  <a:lnTo>
                    <a:pt x="300" y="295"/>
                  </a:lnTo>
                  <a:cubicBezTo>
                    <a:pt x="299" y="310"/>
                    <a:pt x="292" y="321"/>
                    <a:pt x="280" y="327"/>
                  </a:cubicBezTo>
                  <a:lnTo>
                    <a:pt x="280" y="436"/>
                  </a:lnTo>
                  <a:cubicBezTo>
                    <a:pt x="280" y="451"/>
                    <a:pt x="292" y="463"/>
                    <a:pt x="307" y="463"/>
                  </a:cubicBezTo>
                  <a:cubicBezTo>
                    <a:pt x="316" y="463"/>
                    <a:pt x="324" y="458"/>
                    <a:pt x="329" y="451"/>
                  </a:cubicBezTo>
                  <a:cubicBezTo>
                    <a:pt x="334" y="458"/>
                    <a:pt x="342" y="463"/>
                    <a:pt x="351" y="463"/>
                  </a:cubicBezTo>
                  <a:cubicBezTo>
                    <a:pt x="366" y="463"/>
                    <a:pt x="378" y="451"/>
                    <a:pt x="378" y="436"/>
                  </a:cubicBezTo>
                  <a:lnTo>
                    <a:pt x="378" y="284"/>
                  </a:lnTo>
                  <a:cubicBezTo>
                    <a:pt x="380" y="284"/>
                    <a:pt x="381" y="284"/>
                    <a:pt x="383" y="284"/>
                  </a:cubicBezTo>
                  <a:cubicBezTo>
                    <a:pt x="395" y="285"/>
                    <a:pt x="403" y="276"/>
                    <a:pt x="403" y="265"/>
                  </a:cubicBezTo>
                  <a:lnTo>
                    <a:pt x="405" y="140"/>
                  </a:lnTo>
                  <a:cubicBezTo>
                    <a:pt x="405" y="135"/>
                    <a:pt x="403" y="129"/>
                    <a:pt x="399" y="126"/>
                  </a:cubicBezTo>
                  <a:close/>
                  <a:moveTo>
                    <a:pt x="104" y="297"/>
                  </a:moveTo>
                  <a:lnTo>
                    <a:pt x="104" y="155"/>
                  </a:lnTo>
                  <a:cubicBezTo>
                    <a:pt x="104" y="138"/>
                    <a:pt x="116" y="123"/>
                    <a:pt x="132" y="120"/>
                  </a:cubicBezTo>
                  <a:cubicBezTo>
                    <a:pt x="132" y="120"/>
                    <a:pt x="131" y="120"/>
                    <a:pt x="131" y="120"/>
                  </a:cubicBezTo>
                  <a:lnTo>
                    <a:pt x="88" y="120"/>
                  </a:lnTo>
                  <a:lnTo>
                    <a:pt x="81" y="130"/>
                  </a:lnTo>
                  <a:lnTo>
                    <a:pt x="94" y="208"/>
                  </a:lnTo>
                  <a:lnTo>
                    <a:pt x="76" y="226"/>
                  </a:lnTo>
                  <a:lnTo>
                    <a:pt x="57" y="208"/>
                  </a:lnTo>
                  <a:lnTo>
                    <a:pt x="71" y="130"/>
                  </a:lnTo>
                  <a:lnTo>
                    <a:pt x="63" y="120"/>
                  </a:lnTo>
                  <a:lnTo>
                    <a:pt x="20" y="120"/>
                  </a:lnTo>
                  <a:cubicBezTo>
                    <a:pt x="9" y="120"/>
                    <a:pt x="0" y="129"/>
                    <a:pt x="0" y="140"/>
                  </a:cubicBezTo>
                  <a:lnTo>
                    <a:pt x="0" y="266"/>
                  </a:lnTo>
                  <a:cubicBezTo>
                    <a:pt x="0" y="277"/>
                    <a:pt x="9" y="286"/>
                    <a:pt x="20" y="286"/>
                  </a:cubicBezTo>
                  <a:cubicBezTo>
                    <a:pt x="22" y="286"/>
                    <a:pt x="25" y="286"/>
                    <a:pt x="27" y="285"/>
                  </a:cubicBezTo>
                  <a:lnTo>
                    <a:pt x="27" y="436"/>
                  </a:lnTo>
                  <a:cubicBezTo>
                    <a:pt x="27" y="451"/>
                    <a:pt x="39" y="463"/>
                    <a:pt x="53" y="463"/>
                  </a:cubicBezTo>
                  <a:cubicBezTo>
                    <a:pt x="63" y="463"/>
                    <a:pt x="71" y="458"/>
                    <a:pt x="76" y="451"/>
                  </a:cubicBezTo>
                  <a:cubicBezTo>
                    <a:pt x="80" y="458"/>
                    <a:pt x="89" y="463"/>
                    <a:pt x="98" y="463"/>
                  </a:cubicBezTo>
                  <a:cubicBezTo>
                    <a:pt x="113" y="463"/>
                    <a:pt x="125" y="451"/>
                    <a:pt x="125" y="436"/>
                  </a:cubicBezTo>
                  <a:lnTo>
                    <a:pt x="125" y="329"/>
                  </a:lnTo>
                  <a:cubicBezTo>
                    <a:pt x="112" y="324"/>
                    <a:pt x="104" y="311"/>
                    <a:pt x="104" y="297"/>
                  </a:cubicBezTo>
                  <a:close/>
                  <a:moveTo>
                    <a:pt x="281" y="139"/>
                  </a:moveTo>
                  <a:cubicBezTo>
                    <a:pt x="277" y="135"/>
                    <a:pt x="271" y="132"/>
                    <a:pt x="265" y="132"/>
                  </a:cubicBezTo>
                  <a:lnTo>
                    <a:pt x="216" y="132"/>
                  </a:lnTo>
                  <a:lnTo>
                    <a:pt x="208" y="144"/>
                  </a:lnTo>
                  <a:lnTo>
                    <a:pt x="223" y="232"/>
                  </a:lnTo>
                  <a:lnTo>
                    <a:pt x="202" y="252"/>
                  </a:lnTo>
                  <a:lnTo>
                    <a:pt x="181" y="232"/>
                  </a:lnTo>
                  <a:lnTo>
                    <a:pt x="197" y="144"/>
                  </a:lnTo>
                  <a:lnTo>
                    <a:pt x="188" y="132"/>
                  </a:lnTo>
                  <a:lnTo>
                    <a:pt x="140" y="132"/>
                  </a:lnTo>
                  <a:cubicBezTo>
                    <a:pt x="127" y="132"/>
                    <a:pt x="117" y="142"/>
                    <a:pt x="117" y="155"/>
                  </a:cubicBezTo>
                  <a:lnTo>
                    <a:pt x="117" y="297"/>
                  </a:lnTo>
                  <a:cubicBezTo>
                    <a:pt x="117" y="309"/>
                    <a:pt x="127" y="319"/>
                    <a:pt x="140" y="319"/>
                  </a:cubicBezTo>
                  <a:cubicBezTo>
                    <a:pt x="142" y="319"/>
                    <a:pt x="145" y="319"/>
                    <a:pt x="147" y="318"/>
                  </a:cubicBezTo>
                  <a:lnTo>
                    <a:pt x="147" y="489"/>
                  </a:lnTo>
                  <a:cubicBezTo>
                    <a:pt x="147" y="505"/>
                    <a:pt x="161" y="519"/>
                    <a:pt x="177" y="519"/>
                  </a:cubicBezTo>
                  <a:cubicBezTo>
                    <a:pt x="188" y="519"/>
                    <a:pt x="197" y="513"/>
                    <a:pt x="202" y="505"/>
                  </a:cubicBezTo>
                  <a:cubicBezTo>
                    <a:pt x="208" y="513"/>
                    <a:pt x="217" y="519"/>
                    <a:pt x="227" y="519"/>
                  </a:cubicBezTo>
                  <a:cubicBezTo>
                    <a:pt x="244" y="519"/>
                    <a:pt x="257" y="505"/>
                    <a:pt x="257" y="489"/>
                  </a:cubicBezTo>
                  <a:lnTo>
                    <a:pt x="257" y="317"/>
                  </a:lnTo>
                  <a:cubicBezTo>
                    <a:pt x="259" y="317"/>
                    <a:pt x="261" y="318"/>
                    <a:pt x="263" y="318"/>
                  </a:cubicBezTo>
                  <a:cubicBezTo>
                    <a:pt x="276" y="318"/>
                    <a:pt x="286" y="308"/>
                    <a:pt x="286" y="295"/>
                  </a:cubicBezTo>
                  <a:lnTo>
                    <a:pt x="287" y="155"/>
                  </a:lnTo>
                  <a:cubicBezTo>
                    <a:pt x="287" y="149"/>
                    <a:pt x="285" y="143"/>
                    <a:pt x="281" y="139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</a:p>
          </p:txBody>
        </p:sp>
        <p:grpSp>
          <p:nvGrpSpPr>
            <p:cNvPr id="10" name="iSlíḑe"/>
            <p:cNvGrpSpPr/>
            <p:nvPr/>
          </p:nvGrpSpPr>
          <p:grpSpPr>
            <a:xfrm>
              <a:off x="8098274" y="3812168"/>
              <a:ext cx="3420626" cy="684038"/>
              <a:chOff x="8098274" y="1130300"/>
              <a:chExt cx="3420626" cy="684038"/>
            </a:xfrm>
          </p:grpSpPr>
          <p:sp>
            <p:nvSpPr>
              <p:cNvPr id="19" name="íṡľïḓê"/>
              <p:cNvSpPr/>
              <p:nvPr/>
            </p:nvSpPr>
            <p:spPr>
              <a:xfrm>
                <a:off x="8098274" y="1541304"/>
                <a:ext cx="279328" cy="273034"/>
              </a:xfrm>
              <a:custGeom>
                <a:avLst/>
                <a:gdLst>
                  <a:gd name="connsiteX0" fmla="*/ 163904 w 607933"/>
                  <a:gd name="connsiteY0" fmla="*/ 368072 h 594235"/>
                  <a:gd name="connsiteX1" fmla="*/ 194698 w 607933"/>
                  <a:gd name="connsiteY1" fmla="*/ 416677 h 594235"/>
                  <a:gd name="connsiteX2" fmla="*/ 52648 w 607933"/>
                  <a:gd name="connsiteY2" fmla="*/ 475202 h 594235"/>
                  <a:gd name="connsiteX3" fmla="*/ 303966 w 607933"/>
                  <a:gd name="connsiteY3" fmla="*/ 542654 h 594235"/>
                  <a:gd name="connsiteX4" fmla="*/ 555285 w 607933"/>
                  <a:gd name="connsiteY4" fmla="*/ 475202 h 594235"/>
                  <a:gd name="connsiteX5" fmla="*/ 412242 w 607933"/>
                  <a:gd name="connsiteY5" fmla="*/ 416677 h 594235"/>
                  <a:gd name="connsiteX6" fmla="*/ 444030 w 607933"/>
                  <a:gd name="connsiteY6" fmla="*/ 368072 h 594235"/>
                  <a:gd name="connsiteX7" fmla="*/ 607933 w 607933"/>
                  <a:gd name="connsiteY7" fmla="*/ 475202 h 594235"/>
                  <a:gd name="connsiteX8" fmla="*/ 303966 w 607933"/>
                  <a:gd name="connsiteY8" fmla="*/ 594235 h 594235"/>
                  <a:gd name="connsiteX9" fmla="*/ 0 w 607933"/>
                  <a:gd name="connsiteY9" fmla="*/ 475202 h 594235"/>
                  <a:gd name="connsiteX10" fmla="*/ 163904 w 607933"/>
                  <a:gd name="connsiteY10" fmla="*/ 368072 h 594235"/>
                  <a:gd name="connsiteX11" fmla="*/ 304444 w 607933"/>
                  <a:gd name="connsiteY11" fmla="*/ 119134 h 594235"/>
                  <a:gd name="connsiteX12" fmla="*/ 368550 w 607933"/>
                  <a:gd name="connsiteY12" fmla="*/ 183559 h 594235"/>
                  <a:gd name="connsiteX13" fmla="*/ 304444 w 607933"/>
                  <a:gd name="connsiteY13" fmla="*/ 247984 h 594235"/>
                  <a:gd name="connsiteX14" fmla="*/ 240338 w 607933"/>
                  <a:gd name="connsiteY14" fmla="*/ 183559 h 594235"/>
                  <a:gd name="connsiteX15" fmla="*/ 304444 w 607933"/>
                  <a:gd name="connsiteY15" fmla="*/ 119134 h 594235"/>
                  <a:gd name="connsiteX16" fmla="*/ 304941 w 607933"/>
                  <a:gd name="connsiteY16" fmla="*/ 78375 h 594235"/>
                  <a:gd name="connsiteX17" fmla="*/ 198655 w 607933"/>
                  <a:gd name="connsiteY17" fmla="*/ 183536 h 594235"/>
                  <a:gd name="connsiteX18" fmla="*/ 304941 w 607933"/>
                  <a:gd name="connsiteY18" fmla="*/ 288698 h 594235"/>
                  <a:gd name="connsiteX19" fmla="*/ 410234 w 607933"/>
                  <a:gd name="connsiteY19" fmla="*/ 183536 h 594235"/>
                  <a:gd name="connsiteX20" fmla="*/ 304941 w 607933"/>
                  <a:gd name="connsiteY20" fmla="*/ 78375 h 594235"/>
                  <a:gd name="connsiteX21" fmla="*/ 304941 w 607933"/>
                  <a:gd name="connsiteY21" fmla="*/ 0 h 594235"/>
                  <a:gd name="connsiteX22" fmla="*/ 482747 w 607933"/>
                  <a:gd name="connsiteY22" fmla="*/ 178576 h 594235"/>
                  <a:gd name="connsiteX23" fmla="*/ 338714 w 607933"/>
                  <a:gd name="connsiteY23" fmla="*/ 454376 h 594235"/>
                  <a:gd name="connsiteX24" fmla="*/ 304941 w 607933"/>
                  <a:gd name="connsiteY24" fmla="*/ 472234 h 594235"/>
                  <a:gd name="connsiteX25" fmla="*/ 270175 w 607933"/>
                  <a:gd name="connsiteY25" fmla="*/ 454376 h 594235"/>
                  <a:gd name="connsiteX26" fmla="*/ 126142 w 607933"/>
                  <a:gd name="connsiteY26" fmla="*/ 178576 h 594235"/>
                  <a:gd name="connsiteX27" fmla="*/ 304941 w 607933"/>
                  <a:gd name="connsiteY27" fmla="*/ 0 h 594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07933" h="594235">
                    <a:moveTo>
                      <a:pt x="163904" y="368072"/>
                    </a:moveTo>
                    <a:cubicBezTo>
                      <a:pt x="173837" y="383943"/>
                      <a:pt x="183771" y="399814"/>
                      <a:pt x="194698" y="416677"/>
                    </a:cubicBezTo>
                    <a:cubicBezTo>
                      <a:pt x="100329" y="430564"/>
                      <a:pt x="52648" y="460323"/>
                      <a:pt x="52648" y="475202"/>
                    </a:cubicBezTo>
                    <a:cubicBezTo>
                      <a:pt x="52648" y="495041"/>
                      <a:pt x="138076" y="542654"/>
                      <a:pt x="303966" y="542654"/>
                    </a:cubicBezTo>
                    <a:cubicBezTo>
                      <a:pt x="469857" y="542654"/>
                      <a:pt x="555285" y="495041"/>
                      <a:pt x="555285" y="475202"/>
                    </a:cubicBezTo>
                    <a:cubicBezTo>
                      <a:pt x="555285" y="460323"/>
                      <a:pt x="506611" y="430564"/>
                      <a:pt x="412242" y="416677"/>
                    </a:cubicBezTo>
                    <a:cubicBezTo>
                      <a:pt x="424162" y="399814"/>
                      <a:pt x="434096" y="383943"/>
                      <a:pt x="444030" y="368072"/>
                    </a:cubicBezTo>
                    <a:cubicBezTo>
                      <a:pt x="536412" y="385927"/>
                      <a:pt x="607933" y="421637"/>
                      <a:pt x="607933" y="475202"/>
                    </a:cubicBezTo>
                    <a:cubicBezTo>
                      <a:pt x="607933" y="553565"/>
                      <a:pt x="454956" y="594235"/>
                      <a:pt x="303966" y="594235"/>
                    </a:cubicBezTo>
                    <a:cubicBezTo>
                      <a:pt x="152977" y="594235"/>
                      <a:pt x="0" y="553565"/>
                      <a:pt x="0" y="475202"/>
                    </a:cubicBezTo>
                    <a:cubicBezTo>
                      <a:pt x="0" y="421637"/>
                      <a:pt x="70528" y="385927"/>
                      <a:pt x="163904" y="368072"/>
                    </a:cubicBezTo>
                    <a:close/>
                    <a:moveTo>
                      <a:pt x="304444" y="119134"/>
                    </a:moveTo>
                    <a:cubicBezTo>
                      <a:pt x="339849" y="119134"/>
                      <a:pt x="368550" y="147978"/>
                      <a:pt x="368550" y="183559"/>
                    </a:cubicBezTo>
                    <a:cubicBezTo>
                      <a:pt x="368550" y="219140"/>
                      <a:pt x="339849" y="247984"/>
                      <a:pt x="304444" y="247984"/>
                    </a:cubicBezTo>
                    <a:cubicBezTo>
                      <a:pt x="269039" y="247984"/>
                      <a:pt x="240338" y="219140"/>
                      <a:pt x="240338" y="183559"/>
                    </a:cubicBezTo>
                    <a:cubicBezTo>
                      <a:pt x="240338" y="147978"/>
                      <a:pt x="269039" y="119134"/>
                      <a:pt x="304444" y="119134"/>
                    </a:cubicBezTo>
                    <a:close/>
                    <a:moveTo>
                      <a:pt x="304941" y="78375"/>
                    </a:moveTo>
                    <a:cubicBezTo>
                      <a:pt x="246335" y="78375"/>
                      <a:pt x="198655" y="125003"/>
                      <a:pt x="198655" y="183536"/>
                    </a:cubicBezTo>
                    <a:cubicBezTo>
                      <a:pt x="198655" y="242070"/>
                      <a:pt x="246335" y="288698"/>
                      <a:pt x="304941" y="288698"/>
                    </a:cubicBezTo>
                    <a:cubicBezTo>
                      <a:pt x="362554" y="288698"/>
                      <a:pt x="410234" y="242070"/>
                      <a:pt x="410234" y="183536"/>
                    </a:cubicBezTo>
                    <a:cubicBezTo>
                      <a:pt x="410234" y="125003"/>
                      <a:pt x="362554" y="78375"/>
                      <a:pt x="304941" y="78375"/>
                    </a:cubicBezTo>
                    <a:close/>
                    <a:moveTo>
                      <a:pt x="304941" y="0"/>
                    </a:moveTo>
                    <a:cubicBezTo>
                      <a:pt x="403281" y="0"/>
                      <a:pt x="482747" y="80359"/>
                      <a:pt x="482747" y="178576"/>
                    </a:cubicBezTo>
                    <a:cubicBezTo>
                      <a:pt x="482747" y="249014"/>
                      <a:pt x="391361" y="383938"/>
                      <a:pt x="338714" y="454376"/>
                    </a:cubicBezTo>
                    <a:cubicBezTo>
                      <a:pt x="330768" y="465289"/>
                      <a:pt x="317854" y="472234"/>
                      <a:pt x="304941" y="472234"/>
                    </a:cubicBezTo>
                    <a:cubicBezTo>
                      <a:pt x="291035" y="472234"/>
                      <a:pt x="278121" y="465289"/>
                      <a:pt x="270175" y="454376"/>
                    </a:cubicBezTo>
                    <a:cubicBezTo>
                      <a:pt x="217528" y="383938"/>
                      <a:pt x="126142" y="249014"/>
                      <a:pt x="126142" y="178576"/>
                    </a:cubicBezTo>
                    <a:cubicBezTo>
                      <a:pt x="126142" y="80359"/>
                      <a:pt x="205608" y="0"/>
                      <a:pt x="30494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</a:p>
            </p:txBody>
          </p:sp>
          <p:sp>
            <p:nvSpPr>
              <p:cNvPr id="16" name="iṥḻíḋe"/>
              <p:cNvSpPr/>
              <p:nvPr/>
            </p:nvSpPr>
            <p:spPr bwMode="auto">
              <a:xfrm>
                <a:off x="8738300" y="1130300"/>
                <a:ext cx="2780600" cy="458056"/>
              </a:xfrm>
              <a:prstGeom prst="rect">
                <a:avLst/>
              </a:prstGeom>
              <a:noFill/>
              <a:ln w="38100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rtlCol="0" anchor="ctr">
                <a:normAutofit fontScale="70000"/>
              </a:bodyPr>
              <a:lstStyle/>
              <a:p>
                <a:pPr algn="r"/>
                <a:endParaRPr lang="zh-CN" altLang="en-US" sz="16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" name="íṥ1iďe"/>
            <p:cNvSpPr/>
            <p:nvPr/>
          </p:nvSpPr>
          <p:spPr bwMode="auto">
            <a:xfrm>
              <a:off x="5381034" y="5636220"/>
              <a:ext cx="1429933" cy="45719"/>
            </a:xfrm>
            <a:prstGeom prst="ellipse">
              <a:avLst/>
            </a:prstGeom>
            <a:solidFill>
              <a:schemeClr val="bg1">
                <a:lumMod val="95000"/>
                <a:alpha val="70000"/>
              </a:schemeClr>
            </a:solidFill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dk1"/>
                </a:solidFill>
              </a:endParaRPr>
            </a:p>
          </p:txBody>
        </p:sp>
      </p:grpSp>
      <p:sp>
        <p:nvSpPr>
          <p:cNvPr id="42" name="文本框 41"/>
          <p:cNvSpPr txBox="1"/>
          <p:nvPr/>
        </p:nvSpPr>
        <p:spPr>
          <a:xfrm>
            <a:off x="2096770" y="1579245"/>
            <a:ext cx="441388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 sz="2400" b="1" dirty="0">
                <a:sym typeface="+mn-ea"/>
              </a:rPr>
              <a:t>到一个陌生的地方继续卖魔方</a:t>
            </a:r>
            <a:endParaRPr lang="zh-CN" altLang="en-US" b="1" dirty="0">
              <a:sym typeface="+mn-ea"/>
            </a:endParaRPr>
          </a:p>
          <a:p>
            <a:pPr algn="l"/>
            <a:endParaRPr lang="zh-CN" altLang="en-US" b="1" dirty="0">
              <a:solidFill>
                <a:schemeClr val="tx1"/>
              </a:solidFill>
            </a:endParaRPr>
          </a:p>
          <a:p>
            <a:endParaRPr lang="zh-CN" altLang="en-US"/>
          </a:p>
        </p:txBody>
      </p:sp>
      <p:sp>
        <p:nvSpPr>
          <p:cNvPr id="44" name="文本框 43"/>
          <p:cNvSpPr txBox="1"/>
          <p:nvPr/>
        </p:nvSpPr>
        <p:spPr>
          <a:xfrm>
            <a:off x="2602230" y="2446020"/>
            <a:ext cx="3535680" cy="82994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 dirty="0">
                <a:sym typeface="+mn-ea"/>
              </a:rPr>
              <a:t>依赖自己别的优势或垄断</a:t>
            </a:r>
            <a:endParaRPr lang="zh-CN" altLang="en-US" sz="2400" b="1" dirty="0">
              <a:solidFill>
                <a:schemeClr val="tx1"/>
              </a:solidFill>
            </a:endParaRPr>
          </a:p>
          <a:p>
            <a:endParaRPr lang="zh-CN" altLang="en-US" sz="2400"/>
          </a:p>
        </p:txBody>
      </p:sp>
      <p:sp>
        <p:nvSpPr>
          <p:cNvPr id="45" name="文本框 44"/>
          <p:cNvSpPr txBox="1"/>
          <p:nvPr/>
        </p:nvSpPr>
        <p:spPr>
          <a:xfrm>
            <a:off x="3355975" y="3244850"/>
            <a:ext cx="4145280" cy="82994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 dirty="0">
                <a:sym typeface="+mn-ea"/>
              </a:rPr>
              <a:t>继续创新新的玩法或其他价值</a:t>
            </a:r>
            <a:endParaRPr lang="zh-CN" altLang="en-US" sz="2400" b="1" dirty="0">
              <a:solidFill>
                <a:schemeClr val="tx1"/>
              </a:solidFill>
            </a:endParaRPr>
          </a:p>
          <a:p>
            <a:endParaRPr lang="zh-CN" altLang="en-US" sz="2400"/>
          </a:p>
        </p:txBody>
      </p:sp>
      <p:sp>
        <p:nvSpPr>
          <p:cNvPr id="47" name="文本框 46"/>
          <p:cNvSpPr txBox="1"/>
          <p:nvPr/>
        </p:nvSpPr>
        <p:spPr>
          <a:xfrm>
            <a:off x="7256780" y="3873500"/>
            <a:ext cx="167576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b="1"/>
              <a:t>放弃</a:t>
            </a:r>
            <a:endParaRPr lang="zh-CN" altLang="en-US" sz="2400" b="1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4" grpId="0"/>
      <p:bldP spid="4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对用户的了解</a:t>
            </a:r>
            <a:endParaRPr lang="zh-CN" altLang="en-US" dirty="0"/>
          </a:p>
        </p:txBody>
      </p:sp>
      <p:grpSp>
        <p:nvGrpSpPr>
          <p:cNvPr id="22" name="组合 21"/>
          <p:cNvGrpSpPr/>
          <p:nvPr/>
        </p:nvGrpSpPr>
        <p:grpSpPr>
          <a:xfrm>
            <a:off x="669925" y="2218690"/>
            <a:ext cx="2700020" cy="3426460"/>
            <a:chOff x="8790" y="2013"/>
            <a:chExt cx="4252" cy="5396"/>
          </a:xfrm>
        </p:grpSpPr>
        <p:pic>
          <p:nvPicPr>
            <p:cNvPr id="20" name="图片 19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8790" y="2013"/>
              <a:ext cx="4252" cy="4269"/>
            </a:xfrm>
            <a:prstGeom prst="rect">
              <a:avLst/>
            </a:prstGeom>
          </p:spPr>
        </p:pic>
        <p:sp>
          <p:nvSpPr>
            <p:cNvPr id="21" name="文本框 20"/>
            <p:cNvSpPr txBox="1"/>
            <p:nvPr/>
          </p:nvSpPr>
          <p:spPr>
            <a:xfrm>
              <a:off x="10052" y="6829"/>
              <a:ext cx="172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公主魔方</a:t>
              </a:r>
              <a:endParaRPr lang="zh-CN" altLang="en-US"/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186555" y="2060575"/>
            <a:ext cx="2123440" cy="2593340"/>
            <a:chOff x="13530" y="2013"/>
            <a:chExt cx="3344" cy="4084"/>
          </a:xfrm>
        </p:grpSpPr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530" y="2013"/>
              <a:ext cx="3345" cy="3360"/>
            </a:xfrm>
            <a:prstGeom prst="rect">
              <a:avLst/>
            </a:prstGeom>
          </p:spPr>
        </p:pic>
        <p:sp>
          <p:nvSpPr>
            <p:cNvPr id="24" name="文本框 23"/>
            <p:cNvSpPr txBox="1"/>
            <p:nvPr/>
          </p:nvSpPr>
          <p:spPr>
            <a:xfrm>
              <a:off x="14339" y="5517"/>
              <a:ext cx="172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海贼魔方</a:t>
              </a:r>
              <a:endParaRPr lang="zh-CN" altLang="en-US"/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7671435" y="2390140"/>
            <a:ext cx="3849370" cy="3531235"/>
            <a:chOff x="12396" y="6097"/>
            <a:chExt cx="6062" cy="5561"/>
          </a:xfrm>
        </p:grpSpPr>
        <p:pic>
          <p:nvPicPr>
            <p:cNvPr id="27" name="图片 26" descr="147269780292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96" y="6097"/>
              <a:ext cx="6062" cy="4546"/>
            </a:xfrm>
            <a:prstGeom prst="rect">
              <a:avLst/>
            </a:prstGeom>
          </p:spPr>
        </p:pic>
        <p:sp>
          <p:nvSpPr>
            <p:cNvPr id="29" name="文本框 28"/>
            <p:cNvSpPr txBox="1"/>
            <p:nvPr/>
          </p:nvSpPr>
          <p:spPr>
            <a:xfrm>
              <a:off x="14924" y="11078"/>
              <a:ext cx="172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p>
              <a:r>
                <a:rPr lang="zh-CN" altLang="en-US"/>
                <a:t>吃货魔方</a:t>
              </a:r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：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949960" y="3355975"/>
            <a:ext cx="7294880" cy="95313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800"/>
              <a:t>技术的创新固然重要，但在埋头搞技术的时候</a:t>
            </a:r>
            <a:endParaRPr lang="zh-CN" altLang="en-US" sz="2800"/>
          </a:p>
          <a:p>
            <a:r>
              <a:rPr lang="zh-CN" altLang="en-US" sz="2800"/>
              <a:t> 不能忽视用户的需求。</a:t>
            </a:r>
            <a:endParaRPr lang="zh-CN" altLang="en-US" sz="2800"/>
          </a:p>
        </p:txBody>
      </p:sp>
      <p:sp>
        <p:nvSpPr>
          <p:cNvPr id="5" name="文本框 4"/>
          <p:cNvSpPr txBox="1"/>
          <p:nvPr/>
        </p:nvSpPr>
        <p:spPr>
          <a:xfrm>
            <a:off x="949960" y="1803400"/>
            <a:ext cx="7650480" cy="95313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800"/>
              <a:t>针对不同的环境应该做出适时的改变。</a:t>
            </a:r>
            <a:endParaRPr lang="zh-CN" altLang="en-US" sz="2800"/>
          </a:p>
          <a:p>
            <a:r>
              <a:rPr lang="zh-CN" altLang="en-US" sz="2800"/>
              <a:t>要熟悉竞争的各个阶段，并采取恰当的处理方法</a:t>
            </a:r>
            <a:endParaRPr lang="zh-CN" altLang="en-US" sz="28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DIAGRAM" val="3139"/>
</p:tagLst>
</file>

<file path=ppt/tags/tag4.xml><?xml version="1.0" encoding="utf-8"?>
<p:tagLst xmlns:p="http://schemas.openxmlformats.org/presentationml/2006/main">
  <p:tag name="ISLIDE.DIAGRAM" val="1928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5867E4"/>
      </a:accent1>
      <a:accent2>
        <a:srgbClr val="3D4CC9"/>
      </a:accent2>
      <a:accent3>
        <a:srgbClr val="A8BCFD"/>
      </a:accent3>
      <a:accent4>
        <a:srgbClr val="D7EEC7"/>
      </a:accent4>
      <a:accent5>
        <a:srgbClr val="F34350"/>
      </a:accent5>
      <a:accent6>
        <a:srgbClr val="5968E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867E4"/>
    </a:accent1>
    <a:accent2>
      <a:srgbClr val="3D4CC9"/>
    </a:accent2>
    <a:accent3>
      <a:srgbClr val="A8BCFD"/>
    </a:accent3>
    <a:accent4>
      <a:srgbClr val="D7EEC7"/>
    </a:accent4>
    <a:accent5>
      <a:srgbClr val="F34350"/>
    </a:accent5>
    <a:accent6>
      <a:srgbClr val="5968E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867E4"/>
    </a:accent1>
    <a:accent2>
      <a:srgbClr val="3D4CC9"/>
    </a:accent2>
    <a:accent3>
      <a:srgbClr val="A8BCFD"/>
    </a:accent3>
    <a:accent4>
      <a:srgbClr val="D7EEC7"/>
    </a:accent4>
    <a:accent5>
      <a:srgbClr val="F34350"/>
    </a:accent5>
    <a:accent6>
      <a:srgbClr val="5968E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867E4"/>
    </a:accent1>
    <a:accent2>
      <a:srgbClr val="3D4CC9"/>
    </a:accent2>
    <a:accent3>
      <a:srgbClr val="A8BCFD"/>
    </a:accent3>
    <a:accent4>
      <a:srgbClr val="D7EEC7"/>
    </a:accent4>
    <a:accent5>
      <a:srgbClr val="F34350"/>
    </a:accent5>
    <a:accent6>
      <a:srgbClr val="5968E5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867E4"/>
    </a:accent1>
    <a:accent2>
      <a:srgbClr val="3D4CC9"/>
    </a:accent2>
    <a:accent3>
      <a:srgbClr val="A8BCFD"/>
    </a:accent3>
    <a:accent4>
      <a:srgbClr val="D7EEC7"/>
    </a:accent4>
    <a:accent5>
      <a:srgbClr val="F34350"/>
    </a:accent5>
    <a:accent6>
      <a:srgbClr val="5968E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814</Words>
  <Application>WPS 演示</Application>
  <PresentationFormat>宽屏</PresentationFormat>
  <Paragraphs>174</Paragraphs>
  <Slides>20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20</vt:i4>
      </vt:variant>
    </vt:vector>
  </HeadingPairs>
  <TitlesOfParts>
    <vt:vector size="31" baseType="lpstr">
      <vt:lpstr>Arial</vt:lpstr>
      <vt:lpstr>宋体</vt:lpstr>
      <vt:lpstr>Wingdings</vt:lpstr>
      <vt:lpstr>微软雅黑</vt:lpstr>
      <vt:lpstr>Impact</vt:lpstr>
      <vt:lpstr>Arial Unicode MS</vt:lpstr>
      <vt:lpstr>Calibri</vt:lpstr>
      <vt:lpstr>主题5</vt:lpstr>
      <vt:lpstr>TCLayout.ActiveDocument.1</vt:lpstr>
      <vt:lpstr>Paint.Picture</vt:lpstr>
      <vt:lpstr>TCLayout.ActiveDocument.1</vt:lpstr>
      <vt:lpstr>IT行业的创新</vt:lpstr>
      <vt:lpstr>PowerPoint 演示文稿</vt:lpstr>
      <vt:lpstr>魔方的创新</vt:lpstr>
      <vt:lpstr>书中的例子</vt:lpstr>
      <vt:lpstr>小飞的创新</vt:lpstr>
      <vt:lpstr>果冻的反击</vt:lpstr>
      <vt:lpstr>方法</vt:lpstr>
      <vt:lpstr>对用户的了解</vt:lpstr>
      <vt:lpstr>总结：</vt:lpstr>
      <vt:lpstr>创新和作坊</vt:lpstr>
      <vt:lpstr>PowerPoint 演示文稿</vt:lpstr>
      <vt:lpstr>PowerPoint 演示文稿</vt:lpstr>
      <vt:lpstr>对作坊的理解</vt:lpstr>
      <vt:lpstr>1.自己手工劳动，做出产品</vt:lpstr>
      <vt:lpstr>2.人不多，师傅带徒弟，或家传手艺</vt:lpstr>
      <vt:lpstr>3.只做某种行业，不太改行，商业技巧不多。</vt:lpstr>
      <vt:lpstr>4.不太做广告，主要靠口口相传，容易被技术进步淘汰</vt:lpstr>
      <vt:lpstr>4.1作坊就在那里</vt:lpstr>
      <vt:lpstr>总结</vt:lpstr>
      <vt:lpstr>Thanks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keywords>www.51pptmoban.com</cp:keywords>
  <cp:lastModifiedBy>Blue  Elephant</cp:lastModifiedBy>
  <cp:revision>87</cp:revision>
  <cp:lastPrinted>2018-05-28T16:00:00Z</cp:lastPrinted>
  <dcterms:created xsi:type="dcterms:W3CDTF">2018-05-28T16:00:00Z</dcterms:created>
  <dcterms:modified xsi:type="dcterms:W3CDTF">2018-11-06T03:1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469</vt:lpwstr>
  </property>
</Properties>
</file>